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458" r:id="rId2"/>
    <p:sldId id="416" r:id="rId3"/>
    <p:sldId id="959" r:id="rId4"/>
    <p:sldId id="958" r:id="rId5"/>
    <p:sldId id="957" r:id="rId6"/>
    <p:sldId id="956" r:id="rId7"/>
    <p:sldId id="478" r:id="rId8"/>
    <p:sldId id="955" r:id="rId9"/>
    <p:sldId id="954" r:id="rId10"/>
    <p:sldId id="953" r:id="rId11"/>
    <p:sldId id="483" r:id="rId12"/>
    <p:sldId id="952" r:id="rId13"/>
    <p:sldId id="514" r:id="rId14"/>
    <p:sldId id="951" r:id="rId15"/>
  </p:sldIdLst>
  <p:sldSz cx="9144000" cy="5143500" type="screen16x9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32" userDrawn="1">
          <p15:clr>
            <a:srgbClr val="A4A3A4"/>
          </p15:clr>
        </p15:guide>
        <p15:guide id="2" orient="horz" pos="516" userDrawn="1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3012" userDrawn="1">
          <p15:clr>
            <a:srgbClr val="A4A3A4"/>
          </p15:clr>
        </p15:guide>
        <p15:guide id="5" orient="horz" pos="1164" userDrawn="1">
          <p15:clr>
            <a:srgbClr val="A4A3A4"/>
          </p15:clr>
        </p15:guide>
        <p15:guide id="6" orient="horz" pos="2556" userDrawn="1">
          <p15:clr>
            <a:srgbClr val="A4A3A4"/>
          </p15:clr>
        </p15:guide>
        <p15:guide id="7" pos="576" userDrawn="1">
          <p15:clr>
            <a:srgbClr val="A4A3A4"/>
          </p15:clr>
        </p15:guide>
        <p15:guide id="8" pos="5293">
          <p15:clr>
            <a:srgbClr val="A4A3A4"/>
          </p15:clr>
        </p15:guide>
        <p15:guide id="9" pos="1168">
          <p15:clr>
            <a:srgbClr val="A4A3A4"/>
          </p15:clr>
        </p15:guide>
        <p15:guide id="10" pos="267">
          <p15:clr>
            <a:srgbClr val="A4A3A4"/>
          </p15:clr>
        </p15:guide>
        <p15:guide id="11" pos="4591">
          <p15:clr>
            <a:srgbClr val="A4A3A4"/>
          </p15:clr>
        </p15:guide>
        <p15:guide id="12" pos="3004">
          <p15:clr>
            <a:srgbClr val="A4A3A4"/>
          </p15:clr>
        </p15:guide>
        <p15:guide id="13" pos="4151">
          <p15:clr>
            <a:srgbClr val="A4A3A4"/>
          </p15:clr>
        </p15:guide>
        <p15:guide id="14" pos="4545">
          <p15:clr>
            <a:srgbClr val="A4A3A4"/>
          </p15:clr>
        </p15:guide>
        <p15:guide id="15" orient="horz" pos="2842">
          <p15:clr>
            <a:srgbClr val="A4A3A4"/>
          </p15:clr>
        </p15:guide>
        <p15:guide id="16" orient="horz" pos="836">
          <p15:clr>
            <a:srgbClr val="A4A3A4"/>
          </p15:clr>
        </p15:guide>
        <p15:guide id="17" orient="horz" pos="2460" userDrawn="1">
          <p15:clr>
            <a:srgbClr val="A4A3A4"/>
          </p15:clr>
        </p15:guide>
        <p15:guide id="18" pos="1844">
          <p15:clr>
            <a:srgbClr val="A4A3A4"/>
          </p15:clr>
        </p15:guide>
        <p15:guide id="19" pos="3547">
          <p15:clr>
            <a:srgbClr val="A4A3A4"/>
          </p15:clr>
        </p15:guide>
        <p15:guide id="20" pos="192" userDrawn="1">
          <p15:clr>
            <a:srgbClr val="A4A3A4"/>
          </p15:clr>
        </p15:guide>
        <p15:guide id="21" pos="270">
          <p15:clr>
            <a:srgbClr val="A4A3A4"/>
          </p15:clr>
        </p15:guide>
        <p15:guide id="22" orient="horz" pos="2748" userDrawn="1">
          <p15:clr>
            <a:srgbClr val="A4A3A4"/>
          </p15:clr>
        </p15:guide>
        <p15:guide id="23" orient="horz" pos="708" userDrawn="1">
          <p15:clr>
            <a:srgbClr val="A4A3A4"/>
          </p15:clr>
        </p15:guide>
        <p15:guide id="24" pos="5520" userDrawn="1">
          <p15:clr>
            <a:srgbClr val="A4A3A4"/>
          </p15:clr>
        </p15:guide>
        <p15:guide id="25" pos="1846">
          <p15:clr>
            <a:srgbClr val="A4A3A4"/>
          </p15:clr>
        </p15:guide>
        <p15:guide id="26" pos="2889">
          <p15:clr>
            <a:srgbClr val="A4A3A4"/>
          </p15:clr>
        </p15:guide>
        <p15:guide id="27" pos="2022">
          <p15:clr>
            <a:srgbClr val="A4A3A4"/>
          </p15:clr>
        </p15:guide>
        <p15:guide id="28" pos="3048">
          <p15:clr>
            <a:srgbClr val="A4A3A4"/>
          </p15:clr>
        </p15:guide>
        <p15:guide id="29" pos="2760" userDrawn="1">
          <p15:clr>
            <a:srgbClr val="A4A3A4"/>
          </p15:clr>
        </p15:guide>
        <p15:guide id="30" orient="horz" pos="497">
          <p15:clr>
            <a:srgbClr val="A4A3A4"/>
          </p15:clr>
        </p15:guide>
        <p15:guide id="31" orient="horz" pos="2988" userDrawn="1">
          <p15:clr>
            <a:srgbClr val="A4A3A4"/>
          </p15:clr>
        </p15:guide>
        <p15:guide id="32" orient="horz" pos="1716" userDrawn="1">
          <p15:clr>
            <a:srgbClr val="A4A3A4"/>
          </p15:clr>
        </p15:guide>
        <p15:guide id="33" orient="horz" pos="2724" userDrawn="1">
          <p15:clr>
            <a:srgbClr val="A4A3A4"/>
          </p15:clr>
        </p15:guide>
        <p15:guide id="34" orient="horz" pos="2772" userDrawn="1">
          <p15:clr>
            <a:srgbClr val="A4A3A4"/>
          </p15:clr>
        </p15:guide>
        <p15:guide id="35" pos="5517">
          <p15:clr>
            <a:srgbClr val="A4A3A4"/>
          </p15:clr>
        </p15:guide>
        <p15:guide id="36" pos="1740">
          <p15:clr>
            <a:srgbClr val="A4A3A4"/>
          </p15:clr>
        </p15:guide>
        <p15:guide id="37" orient="horz" pos="501">
          <p15:clr>
            <a:srgbClr val="A4A3A4"/>
          </p15:clr>
        </p15:guide>
        <p15:guide id="38" orient="horz" pos="3060" userDrawn="1">
          <p15:clr>
            <a:srgbClr val="A4A3A4"/>
          </p15:clr>
        </p15:guide>
        <p15:guide id="39" orient="horz" pos="2796" userDrawn="1">
          <p15:clr>
            <a:srgbClr val="A4A3A4"/>
          </p15:clr>
        </p15:guide>
        <p15:guide id="40" pos="2039">
          <p15:clr>
            <a:srgbClr val="A4A3A4"/>
          </p15:clr>
        </p15:guide>
        <p15:guide id="41" pos="2881">
          <p15:clr>
            <a:srgbClr val="A4A3A4"/>
          </p15:clr>
        </p15:guide>
        <p15:guide id="42" pos="274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y" initials="A" lastIdx="1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A6B0"/>
    <a:srgbClr val="3E7E86"/>
    <a:srgbClr val="248059"/>
    <a:srgbClr val="8D3C3C"/>
    <a:srgbClr val="E37012"/>
    <a:srgbClr val="E2E3E3"/>
    <a:srgbClr val="2EAB78"/>
    <a:srgbClr val="FFB01F"/>
    <a:srgbClr val="82CCAD"/>
    <a:srgbClr val="EB9E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67" autoAdjust="0"/>
    <p:restoredTop sz="95902" autoAdjust="0"/>
  </p:normalViewPr>
  <p:slideViewPr>
    <p:cSldViewPr snapToGrid="0" showGuides="1">
      <p:cViewPr varScale="1">
        <p:scale>
          <a:sx n="90" d="100"/>
          <a:sy n="90" d="100"/>
        </p:scale>
        <p:origin x="820" y="52"/>
      </p:cViewPr>
      <p:guideLst>
        <p:guide orient="horz" pos="3132"/>
        <p:guide orient="horz" pos="516"/>
        <p:guide orient="horz" pos="375"/>
        <p:guide orient="horz" pos="3012"/>
        <p:guide orient="horz" pos="1164"/>
        <p:guide orient="horz" pos="2556"/>
        <p:guide pos="576"/>
        <p:guide pos="5293"/>
        <p:guide pos="1168"/>
        <p:guide pos="267"/>
        <p:guide pos="4591"/>
        <p:guide pos="3004"/>
        <p:guide pos="4151"/>
        <p:guide pos="4545"/>
        <p:guide orient="horz" pos="2842"/>
        <p:guide orient="horz" pos="836"/>
        <p:guide orient="horz" pos="2460"/>
        <p:guide pos="1844"/>
        <p:guide pos="3547"/>
        <p:guide pos="192"/>
        <p:guide pos="270"/>
        <p:guide orient="horz" pos="2748"/>
        <p:guide orient="horz" pos="708"/>
        <p:guide pos="5520"/>
        <p:guide pos="1846"/>
        <p:guide pos="2889"/>
        <p:guide pos="2022"/>
        <p:guide pos="3048"/>
        <p:guide pos="2760"/>
        <p:guide orient="horz" pos="497"/>
        <p:guide orient="horz" pos="2988"/>
        <p:guide orient="horz" pos="1716"/>
        <p:guide orient="horz" pos="2724"/>
        <p:guide orient="horz" pos="2772"/>
        <p:guide pos="5517"/>
        <p:guide pos="1740"/>
        <p:guide orient="horz" pos="501"/>
        <p:guide orient="horz" pos="3060"/>
        <p:guide orient="horz" pos="2796"/>
        <p:guide pos="2039"/>
        <p:guide pos="2881"/>
        <p:guide pos="274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908"/>
    </p:cViewPr>
  </p:sorterViewPr>
  <p:notesViewPr>
    <p:cSldViewPr snapToGrid="0" showGuides="1">
      <p:cViewPr varScale="1">
        <p:scale>
          <a:sx n="47" d="100"/>
          <a:sy n="47" d="100"/>
        </p:scale>
        <p:origin x="1940" y="68"/>
      </p:cViewPr>
      <p:guideLst>
        <p:guide orient="horz" pos="292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65139949109415E-2"/>
          <c:y val="7.1207430340557307E-2"/>
          <c:w val="0.89821882951653897"/>
          <c:h val="0.86377708978328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37012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dPt>
            <c:idx val="3"/>
            <c:invertIfNegative val="0"/>
            <c:bubble3D val="0"/>
            <c:spPr>
              <a:solidFill>
                <a:srgbClr val="8D3C3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5FAB-41FA-A656-DC6749DB9DF8}"/>
              </c:ext>
            </c:extLst>
          </c:dPt>
          <c:dLbls>
            <c:dLbl>
              <c:idx val="0"/>
              <c:layout>
                <c:manualLayout>
                  <c:x val="-4.3058810020015501E-3"/>
                  <c:y val="-0.37523354942731901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accent3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FAB-41FA-A656-DC6749DB9DF8}"/>
                </c:ext>
              </c:extLst>
            </c:dLbl>
            <c:dLbl>
              <c:idx val="1"/>
              <c:layout>
                <c:manualLayout>
                  <c:x val="-2.3975550402067802E-3"/>
                  <c:y val="-0.34649907695139998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accent3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FAB-41FA-A656-DC6749DB9DF8}"/>
                </c:ext>
              </c:extLst>
            </c:dLbl>
            <c:dLbl>
              <c:idx val="2"/>
              <c:layout>
                <c:manualLayout>
                  <c:x val="-3.03349074323578E-3"/>
                  <c:y val="-0.29601522115552298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accent3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FAB-41FA-A656-DC6749DB9DF8}"/>
                </c:ext>
              </c:extLst>
            </c:dLbl>
            <c:dLbl>
              <c:idx val="3"/>
              <c:layout>
                <c:manualLayout>
                  <c:x val="4.5919690315027103E-4"/>
                  <c:y val="-0.12124675677690901"/>
                </c:manualLayout>
              </c:layout>
              <c:spPr>
                <a:noFill/>
                <a:ln w="25400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accent3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FAB-41FA-A656-DC6749DB9DF8}"/>
                </c:ext>
              </c:extLst>
            </c:dLbl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 i="0" u="none" strike="noStrike" baseline="0">
                    <a:solidFill>
                      <a:schemeClr val="accent3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2:$E$2</c:f>
              <c:numCache>
                <c:formatCode>#,##0_);\(#,##0\)</c:formatCode>
                <c:ptCount val="4"/>
                <c:pt idx="0">
                  <c:v>62.000000000007049</c:v>
                </c:pt>
                <c:pt idx="1">
                  <c:v>57.000000000006473</c:v>
                </c:pt>
                <c:pt idx="2">
                  <c:v>48.000000000005457</c:v>
                </c:pt>
                <c:pt idx="3">
                  <c:v>1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FAB-41FA-A656-DC6749DB9D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95335904"/>
        <c:axId val="595338224"/>
      </c:barChart>
      <c:catAx>
        <c:axId val="595335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59533822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595338224"/>
        <c:scaling>
          <c:orientation val="minMax"/>
          <c:max val="8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595335904"/>
        <c:crosses val="autoZero"/>
        <c:crossBetween val="between"/>
        <c:majorUnit val="2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6965174129353"/>
          <c:y val="7.1207430340557307E-2"/>
          <c:w val="0.88059701492537301"/>
          <c:h val="0.863777089783282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E37012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dPt>
            <c:idx val="10"/>
            <c:invertIfNegative val="0"/>
            <c:bubble3D val="0"/>
            <c:spPr>
              <a:solidFill>
                <a:srgbClr val="8D3C3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616-4C11-9564-53EF51E9F5DB}"/>
              </c:ext>
            </c:extLst>
          </c:dPt>
          <c:dPt>
            <c:idx val="11"/>
            <c:invertIfNegative val="0"/>
            <c:bubble3D val="0"/>
            <c:spPr>
              <a:solidFill>
                <a:srgbClr val="E37012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616-4C11-9564-53EF51E9F5DB}"/>
              </c:ext>
            </c:extLst>
          </c:dPt>
          <c:dLbls>
            <c:dLbl>
              <c:idx val="0"/>
              <c:layout>
                <c:manualLayout>
                  <c:x val="-1.63903981192706E-3"/>
                  <c:y val="-0.44638670046841999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616-4C11-9564-53EF51E9F5DB}"/>
                </c:ext>
              </c:extLst>
            </c:dLbl>
            <c:dLbl>
              <c:idx val="1"/>
              <c:layout>
                <c:manualLayout>
                  <c:x val="-4.5787607426923099E-3"/>
                  <c:y val="-0.37926597518258398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616-4C11-9564-53EF51E9F5DB}"/>
                </c:ext>
              </c:extLst>
            </c:dLbl>
            <c:dLbl>
              <c:idx val="2"/>
              <c:layout>
                <c:manualLayout>
                  <c:x val="-5.5795106293332599E-5"/>
                  <c:y val="-0.30904927466455001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616-4C11-9564-53EF51E9F5DB}"/>
                </c:ext>
              </c:extLst>
            </c:dLbl>
            <c:dLbl>
              <c:idx val="3"/>
              <c:layout>
                <c:manualLayout>
                  <c:x val="-5.08215436368475E-4"/>
                  <c:y val="-0.28420424183256199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616-4C11-9564-53EF51E9F5DB}"/>
                </c:ext>
              </c:extLst>
            </c:dLbl>
            <c:dLbl>
              <c:idx val="4"/>
              <c:layout>
                <c:manualLayout>
                  <c:x val="-9.6037417807892699E-4"/>
                  <c:y val="-0.24070547519264801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616-4C11-9564-53EF51E9F5DB}"/>
                </c:ext>
              </c:extLst>
            </c:dLbl>
            <c:dLbl>
              <c:idx val="5"/>
              <c:layout>
                <c:manualLayout>
                  <c:x val="-1.4127945081541199E-3"/>
                  <c:y val="-0.15370859335315501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616-4C11-9564-53EF51E9F5DB}"/>
                </c:ext>
              </c:extLst>
            </c:dLbl>
            <c:dLbl>
              <c:idx val="6"/>
              <c:layout>
                <c:manualLayout>
                  <c:x val="-1.8649532498645799E-3"/>
                  <c:y val="-0.14996246554072201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0616-4C11-9564-53EF51E9F5DB}"/>
                </c:ext>
              </c:extLst>
            </c:dLbl>
            <c:dLbl>
              <c:idx val="7"/>
              <c:layout>
                <c:manualLayout>
                  <c:x val="-2.3173735799395501E-3"/>
                  <c:y val="-0.14189761403019399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616-4C11-9564-53EF51E9F5DB}"/>
                </c:ext>
              </c:extLst>
            </c:dLbl>
            <c:dLbl>
              <c:idx val="8"/>
              <c:layout>
                <c:manualLayout>
                  <c:x val="-2.7695323216501201E-3"/>
                  <c:y val="-0.110210152433408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0616-4C11-9564-53EF51E9F5DB}"/>
                </c:ext>
              </c:extLst>
            </c:dLbl>
            <c:dLbl>
              <c:idx val="9"/>
              <c:layout>
                <c:manualLayout>
                  <c:x val="-3.2219838861567399E-3"/>
                  <c:y val="-0.12666809499045301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616-4C11-9564-53EF51E9F5DB}"/>
                </c:ext>
              </c:extLst>
            </c:dLbl>
            <c:dLbl>
              <c:idx val="10"/>
              <c:layout>
                <c:manualLayout>
                  <c:x val="-2.95961075651367E-3"/>
                  <c:y val="-0.12786769820588101"/>
                </c:manualLayout>
              </c:layout>
              <c:spPr>
                <a:noFill/>
                <a:ln w="25399">
                  <a:noFill/>
                </a:ln>
              </c:spPr>
              <c:txPr>
                <a:bodyPr/>
                <a:lstStyle/>
                <a:p>
                  <a:pPr>
                    <a:defRPr sz="1000" b="1" i="0" u="none" strike="noStrike" baseline="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616-4C11-9564-53EF51E9F5DB}"/>
                </c:ext>
              </c:extLst>
            </c:dLbl>
            <c:spPr>
              <a:noFill/>
              <a:ln w="25399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0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</c:numCache>
            </c:numRef>
          </c:cat>
          <c:val>
            <c:numRef>
              <c:f>Sheet1!$B$2:$L$2</c:f>
              <c:numCache>
                <c:formatCode>#,##0_);\(#,##0\)</c:formatCode>
                <c:ptCount val="11"/>
                <c:pt idx="0">
                  <c:v>94.000000000010687</c:v>
                </c:pt>
                <c:pt idx="1">
                  <c:v>78.000000000008868</c:v>
                </c:pt>
                <c:pt idx="2">
                  <c:v>62.000000000007049</c:v>
                </c:pt>
                <c:pt idx="3">
                  <c:v>57.000000000006473</c:v>
                </c:pt>
                <c:pt idx="4">
                  <c:v>47.000000000005343</c:v>
                </c:pt>
                <c:pt idx="5">
                  <c:v>27.00000000000307</c:v>
                </c:pt>
                <c:pt idx="6">
                  <c:v>25.000000000002839</c:v>
                </c:pt>
                <c:pt idx="7">
                  <c:v>24.000000000002728</c:v>
                </c:pt>
                <c:pt idx="8">
                  <c:v>17.000000000001929</c:v>
                </c:pt>
                <c:pt idx="9">
                  <c:v>16</c:v>
                </c:pt>
                <c:pt idx="10">
                  <c:v>13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616-4C11-9564-53EF51E9F5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466392816"/>
        <c:axId val="465943392"/>
      </c:barChart>
      <c:catAx>
        <c:axId val="4663928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46594339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465943392"/>
        <c:scaling>
          <c:orientation val="minMax"/>
          <c:max val="100"/>
          <c:min val="0"/>
        </c:scaling>
        <c:delete val="0"/>
        <c:axPos val="l"/>
        <c:numFmt formatCode="#,##0_);\(#,##0\)" sourceLinked="0"/>
        <c:majorTickMark val="out"/>
        <c:minorTickMark val="none"/>
        <c:tickLblPos val="nextTo"/>
        <c:spPr>
          <a:ln w="12700">
            <a:solidFill>
              <a:srgbClr val="80808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466392816"/>
        <c:crosses val="autoZero"/>
        <c:crossBetween val="between"/>
        <c:majorUnit val="20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240576548753802E-2"/>
          <c:y val="0"/>
          <c:w val="0.96077584012008099"/>
          <c:h val="0.9247612267634770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noFill/>
            <a:ln w="25400">
              <a:noFill/>
            </a:ln>
          </c:spPr>
          <c:invertIfNegative val="0"/>
          <c:cat>
            <c:numRef>
              <c:f>Sheet1!$B$1:$J$1</c:f>
              <c:numCache>
                <c:formatCode>General</c:formatCode>
                <c:ptCount val="9"/>
              </c:numCache>
            </c:numRef>
          </c:cat>
          <c:val>
            <c:numRef>
              <c:f>Sheet1!$B$2:$J$2</c:f>
              <c:numCache>
                <c:formatCode>General</c:formatCode>
                <c:ptCount val="9"/>
                <c:pt idx="1">
                  <c:v>7600</c:v>
                </c:pt>
                <c:pt idx="3">
                  <c:v>4500</c:v>
                </c:pt>
                <c:pt idx="5">
                  <c:v>3599.9000000004112</c:v>
                </c:pt>
                <c:pt idx="7">
                  <c:v>3099.9000000003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4C-458D-AD35-9436A192CCD2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E37012"/>
            </a:solidFill>
            <a:ln w="12700">
              <a:solidFill>
                <a:srgbClr val="80808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248059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874C-458D-AD35-9436A192CCD2}"/>
              </c:ext>
            </c:extLst>
          </c:dPt>
          <c:dPt>
            <c:idx val="1"/>
            <c:invertIfNegative val="0"/>
            <c:bubble3D val="0"/>
            <c:spPr>
              <a:solidFill>
                <a:srgbClr val="8D3C3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874C-458D-AD35-9436A192CCD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874C-458D-AD35-9436A192CCD2}"/>
              </c:ext>
            </c:extLst>
          </c:dPt>
          <c:dPt>
            <c:idx val="3"/>
            <c:invertIfNegative val="0"/>
            <c:bubble3D val="0"/>
            <c:spPr>
              <a:solidFill>
                <a:srgbClr val="8D3C3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874C-458D-AD35-9436A192CCD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874C-458D-AD35-9436A192CCD2}"/>
              </c:ext>
            </c:extLst>
          </c:dPt>
          <c:dPt>
            <c:idx val="5"/>
            <c:invertIfNegative val="0"/>
            <c:bubble3D val="0"/>
            <c:spPr>
              <a:solidFill>
                <a:srgbClr val="8D3C3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874C-458D-AD35-9436A192CCD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874C-458D-AD35-9436A192CCD2}"/>
              </c:ext>
            </c:extLst>
          </c:dPt>
          <c:dPt>
            <c:idx val="7"/>
            <c:invertIfNegative val="0"/>
            <c:bubble3D val="0"/>
            <c:spPr>
              <a:solidFill>
                <a:srgbClr val="8D3C3C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874C-458D-AD35-9436A192CCD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874C-458D-AD35-9436A192CCD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874C-458D-AD35-9436A192CCD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874C-458D-AD35-9436A192CCD2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874C-458D-AD35-9436A192CCD2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2-874C-458D-AD35-9436A192CCD2}"/>
              </c:ext>
            </c:extLst>
          </c:dPt>
          <c:cat>
            <c:numRef>
              <c:f>Sheet1!$B$1:$J$1</c:f>
              <c:numCache>
                <c:formatCode>General</c:formatCode>
                <c:ptCount val="9"/>
              </c:numCache>
            </c:numRef>
          </c:cat>
          <c:val>
            <c:numRef>
              <c:f>Sheet1!$B$3:$J$3</c:f>
              <c:numCache>
                <c:formatCode>General</c:formatCode>
                <c:ptCount val="9"/>
                <c:pt idx="0">
                  <c:v>137000</c:v>
                </c:pt>
                <c:pt idx="1">
                  <c:v>5900</c:v>
                </c:pt>
                <c:pt idx="2" formatCode="#,##0;\-#,##0">
                  <c:v>7600</c:v>
                </c:pt>
                <c:pt idx="3">
                  <c:v>3100</c:v>
                </c:pt>
                <c:pt idx="4" formatCode="#,##0;\-#,##0">
                  <c:v>4500</c:v>
                </c:pt>
                <c:pt idx="5">
                  <c:v>900</c:v>
                </c:pt>
                <c:pt idx="6" formatCode="#,##0;\-#,##0">
                  <c:v>3599.9000000004112</c:v>
                </c:pt>
                <c:pt idx="7">
                  <c:v>500.00000000005701</c:v>
                </c:pt>
                <c:pt idx="8" formatCode="#,##0;\-#,##0">
                  <c:v>3099.9000000003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874C-458D-AD35-9436A192CCD2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55A6B0"/>
            </a:solidFill>
            <a:ln w="25400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55A6B0"/>
              </a:solidFill>
              <a:ln w="12700">
                <a:solidFill>
                  <a:srgbClr val="80808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874C-458D-AD35-9436A192CCD2}"/>
              </c:ext>
            </c:extLst>
          </c:dPt>
          <c:cat>
            <c:numRef>
              <c:f>Sheet1!$B$1:$J$1</c:f>
              <c:numCache>
                <c:formatCode>General</c:formatCode>
                <c:ptCount val="9"/>
              </c:numCache>
            </c:numRef>
          </c:cat>
          <c:val>
            <c:numRef>
              <c:f>Sheet1!$B$4:$J$4</c:f>
              <c:numCache>
                <c:formatCode>General</c:formatCode>
                <c:ptCount val="9"/>
                <c:pt idx="8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874C-458D-AD35-9436A192CC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overlap val="100"/>
        <c:axId val="595270224"/>
        <c:axId val="595272544"/>
      </c:barChart>
      <c:catAx>
        <c:axId val="5952702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59527254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595272544"/>
        <c:scaling>
          <c:orientation val="minMax"/>
          <c:max val="12000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spPr>
          <a:ln w="12700">
            <a:solidFill>
              <a:srgbClr val="808080"/>
            </a:solidFill>
            <a:prstDash val="solid"/>
          </a:ln>
        </c:spPr>
        <c:crossAx val="595270224"/>
        <c:crosses val="autoZero"/>
        <c:crossBetween val="between"/>
        <c:majorUnit val="300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562453588183901E-2"/>
          <c:y val="0.223807491320656"/>
          <c:w val="0.96087509282363204"/>
          <c:h val="0.7364675747003639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248059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Health</c:v>
                </c:pt>
                <c:pt idx="1">
                  <c:v>Competitiveness</c:v>
                </c:pt>
                <c:pt idx="2">
                  <c:v>Insecurity</c:v>
                </c:pt>
                <c:pt idx="3">
                  <c:v>Environment</c:v>
                </c:pt>
                <c:pt idx="4">
                  <c:v>Education</c:v>
                </c:pt>
                <c:pt idx="5">
                  <c:v>Food security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</c:v>
                </c:pt>
                <c:pt idx="1">
                  <c:v>25</c:v>
                </c:pt>
                <c:pt idx="2">
                  <c:v>3</c:v>
                </c:pt>
                <c:pt idx="3">
                  <c:v>45</c:v>
                </c:pt>
                <c:pt idx="4">
                  <c:v>26</c:v>
                </c:pt>
                <c:pt idx="5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7BD-4F4C-9647-5A877F89069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bg2">
                <a:lumMod val="8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Health</c:v>
                </c:pt>
                <c:pt idx="1">
                  <c:v>Competitiveness</c:v>
                </c:pt>
                <c:pt idx="2">
                  <c:v>Insecurity</c:v>
                </c:pt>
                <c:pt idx="3">
                  <c:v>Environment</c:v>
                </c:pt>
                <c:pt idx="4">
                  <c:v>Education</c:v>
                </c:pt>
                <c:pt idx="5">
                  <c:v>Food security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190</c:v>
                </c:pt>
                <c:pt idx="1">
                  <c:v>140</c:v>
                </c:pt>
                <c:pt idx="2">
                  <c:v>149</c:v>
                </c:pt>
                <c:pt idx="3">
                  <c:v>149</c:v>
                </c:pt>
                <c:pt idx="4">
                  <c:v>149</c:v>
                </c:pt>
                <c:pt idx="5">
                  <c:v>1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7BD-4F4C-9647-5A877F8906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45"/>
        <c:overlap val="100"/>
        <c:axId val="466141200"/>
        <c:axId val="546043728"/>
      </c:barChart>
      <c:catAx>
        <c:axId val="4661412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high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en-US"/>
          </a:p>
        </c:txPr>
        <c:crossAx val="546043728"/>
        <c:crosses val="autoZero"/>
        <c:auto val="1"/>
        <c:lblAlgn val="ctr"/>
        <c:lblOffset val="50"/>
        <c:noMultiLvlLbl val="0"/>
      </c:catAx>
      <c:valAx>
        <c:axId val="5460437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661412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88C09-A274-4C07-9395-CBE67C0DE912}" type="datetimeFigureOut">
              <a:rPr lang="en-GB" smtClean="0">
                <a:latin typeface="Futura Medium" pitchFamily="2" charset="0"/>
              </a:rPr>
              <a:pPr/>
              <a:t>03/06/2019</a:t>
            </a:fld>
            <a:endParaRPr lang="en-GB" dirty="0">
              <a:latin typeface="Futura Medium" pitchFamily="2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>
              <a:latin typeface="Futura Medium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005D9-1AAC-4E6D-B9B3-BB8CB4FD9D30}" type="slidenum">
              <a:rPr lang="en-GB" smtClean="0">
                <a:latin typeface="Futura Medium" pitchFamily="2" charset="0"/>
              </a:rPr>
              <a:pPr/>
              <a:t>‹#›</a:t>
            </a:fld>
            <a:endParaRPr lang="en-GB" dirty="0">
              <a:latin typeface="Futura Medium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25664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9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E8910CE4-810D-4C84-B7AD-48C304FEA169}" type="datetimeFigureOut">
              <a:rPr lang="en-GB" smtClean="0"/>
              <a:pPr/>
              <a:t>03/06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1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Futura Medium" pitchFamily="2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9" y="8829966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Futura Medium" pitchFamily="2" charset="0"/>
              </a:defRPr>
            </a:lvl1pPr>
          </a:lstStyle>
          <a:p>
            <a:fld id="{DE799493-6412-4470-9830-D005B358D66E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1042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Futura Medium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Futura Medium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799493-6412-4470-9830-D005B358D66E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Medium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Medium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54783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4586287" y="0"/>
            <a:ext cx="4557713" cy="5143500"/>
          </a:xfrm>
          <a:noFill/>
          <a:ln>
            <a:noFill/>
          </a:ln>
        </p:spPr>
        <p:txBody>
          <a:bodyPr/>
          <a:lstStyle>
            <a:lvl1pPr>
              <a:defRPr sz="1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/>
          </a:p>
        </p:txBody>
      </p:sp>
      <p:sp>
        <p:nvSpPr>
          <p:cNvPr id="11" name="Rectangle 10"/>
          <p:cNvSpPr/>
          <p:nvPr userDrawn="1"/>
        </p:nvSpPr>
        <p:spPr>
          <a:xfrm>
            <a:off x="-1" y="0"/>
            <a:ext cx="4586289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8835" y="150395"/>
            <a:ext cx="3960660" cy="686173"/>
          </a:xfrm>
        </p:spPr>
        <p:txBody>
          <a:bodyPr anchor="b"/>
          <a:lstStyle>
            <a:lvl1pPr>
              <a:lnSpc>
                <a:spcPts val="2000"/>
              </a:lnSpc>
              <a:defRPr sz="2000" b="1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411831" y="926595"/>
            <a:ext cx="3979695" cy="1233075"/>
          </a:xfrm>
        </p:spPr>
        <p:txBody>
          <a:bodyPr/>
          <a:lstStyle>
            <a:lvl1pPr>
              <a:lnSpc>
                <a:spcPts val="2000"/>
              </a:lnSpc>
              <a:defRPr sz="1600" b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18" name="Picture 17" descr="All On Logo + Were all in for Sustainable energy.png"/>
          <p:cNvPicPr>
            <a:picLocks noChangeAspect="1"/>
          </p:cNvPicPr>
          <p:nvPr userDrawn="1"/>
        </p:nvPicPr>
        <p:blipFill rotWithShape="1">
          <a:blip r:embed="rId2" cstate="print"/>
          <a:srcRect l="24437" t="39179" r="53484" b="39080"/>
          <a:stretch/>
        </p:blipFill>
        <p:spPr>
          <a:xfrm>
            <a:off x="381751" y="4260405"/>
            <a:ext cx="1320716" cy="732187"/>
          </a:xfrm>
          <a:prstGeom prst="rect">
            <a:avLst/>
          </a:prstGeom>
        </p:spPr>
      </p:pic>
      <p:grpSp>
        <p:nvGrpSpPr>
          <p:cNvPr id="19" name="Group 18"/>
          <p:cNvGrpSpPr/>
          <p:nvPr userDrawn="1"/>
        </p:nvGrpSpPr>
        <p:grpSpPr>
          <a:xfrm>
            <a:off x="7986239" y="4106251"/>
            <a:ext cx="931488" cy="813412"/>
            <a:chOff x="3689735" y="4106251"/>
            <a:chExt cx="931488" cy="813412"/>
          </a:xfrm>
        </p:grpSpPr>
        <p:pic>
          <p:nvPicPr>
            <p:cNvPr id="20" name="Picture 19" descr="Shell_jan2013_PECTEN_PC_MS_RGB.wmf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3795654" y="4193005"/>
              <a:ext cx="726658" cy="726658"/>
            </a:xfrm>
            <a:prstGeom prst="rect">
              <a:avLst/>
            </a:prstGeom>
          </p:spPr>
        </p:pic>
        <p:sp>
          <p:nvSpPr>
            <p:cNvPr id="21" name="Rectangle 20"/>
            <p:cNvSpPr/>
            <p:nvPr userDrawn="1"/>
          </p:nvSpPr>
          <p:spPr>
            <a:xfrm>
              <a:off x="3689735" y="4106251"/>
              <a:ext cx="931488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700" b="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ogether with</a:t>
              </a:r>
              <a:endParaRPr lang="en-GB" sz="700" b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292735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1142" y="557040"/>
            <a:ext cx="2355283" cy="37582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4" name="Picture 3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  <p:sp>
        <p:nvSpPr>
          <p:cNvPr id="7" name="Content Placeholder 5"/>
          <p:cNvSpPr>
            <a:spLocks noGrp="1"/>
          </p:cNvSpPr>
          <p:nvPr>
            <p:ph sz="quarter" idx="11"/>
          </p:nvPr>
        </p:nvSpPr>
        <p:spPr>
          <a:xfrm>
            <a:off x="3191877" y="572842"/>
            <a:ext cx="5547979" cy="3753937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3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sz="13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432000" indent="-216000">
              <a:lnSpc>
                <a:spcPct val="100000"/>
              </a:lnSpc>
              <a:buClr>
                <a:schemeClr val="accent1"/>
              </a:buClr>
              <a:buSzPct val="100000"/>
              <a:buFont typeface="Symbol" pitchFamily="18" charset="2"/>
              <a:buChar char="-"/>
              <a:defRPr sz="11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6" name="Date Placeholder 5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C64DE87B-D49E-49CB-8C5B-5DEB275D4478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Blank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292735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966" y="615280"/>
            <a:ext cx="2355283" cy="37582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4" name="Picture 3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  <p:sp>
        <p:nvSpPr>
          <p:cNvPr id="5" name="Date Placeholder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36DD0AC3-5326-4416-A3A9-520E6F23C553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Heading, Text and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927350" y="0"/>
            <a:ext cx="6216650" cy="5143500"/>
          </a:xfrm>
          <a:noFill/>
          <a:ln>
            <a:noFill/>
          </a:ln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-1" y="0"/>
            <a:ext cx="292735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966" y="186487"/>
            <a:ext cx="2355284" cy="86392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28625" y="1287374"/>
            <a:ext cx="2318576" cy="350654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14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Aft>
                <a:spcPts val="600"/>
              </a:spcAft>
              <a:buClr>
                <a:schemeClr val="bg1"/>
              </a:buClr>
              <a:defRPr sz="1600"/>
            </a:lvl2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8" name="Date Placeholder 7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04BFA3A8-4CC5-4D22-AB6F-DD8F791EFCD6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with Heading, Text and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292735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89494" y="99011"/>
            <a:ext cx="2355284" cy="6776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93681" y="937934"/>
            <a:ext cx="2318576" cy="3506542"/>
          </a:xfrm>
        </p:spPr>
        <p:txBody>
          <a:bodyPr/>
          <a:lstStyle>
            <a:lvl1pPr>
              <a:lnSpc>
                <a:spcPct val="100000"/>
              </a:lnSpc>
              <a:spcAft>
                <a:spcPts val="1200"/>
              </a:spcAft>
              <a:defRPr sz="130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Aft>
                <a:spcPts val="600"/>
              </a:spcAft>
              <a:buClr>
                <a:schemeClr val="bg1"/>
              </a:buClr>
              <a:defRPr sz="1600"/>
            </a:lvl2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8" name="Date Placeholder 7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04BFA3A8-4CC5-4D22-AB6F-DD8F791EFCD6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  <p:pic>
        <p:nvPicPr>
          <p:cNvPr id="11" name="Picture 10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Heading and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2927350" y="0"/>
            <a:ext cx="6216650" cy="5143500"/>
          </a:xfrm>
          <a:noFill/>
          <a:ln>
            <a:noFill/>
          </a:ln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-1" y="0"/>
            <a:ext cx="292735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966" y="613613"/>
            <a:ext cx="2355284" cy="3759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5" name="Date Placeholder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A054F7C9-9A03-4D9E-9981-174664704A2A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e Title and blank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621" y="39773"/>
            <a:ext cx="7632784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4" name="Picture 3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20170" y="125717"/>
            <a:ext cx="889961" cy="451827"/>
          </a:xfrm>
          <a:prstGeom prst="rect">
            <a:avLst/>
          </a:prstGeom>
        </p:spPr>
      </p:pic>
      <p:sp>
        <p:nvSpPr>
          <p:cNvPr id="8" name="Date Placeholder 7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5D64C94-EE02-423B-833F-D557E0C9C497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lternate Title and blank content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621" y="39773"/>
            <a:ext cx="8353970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8" name="Date Placeholder 7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D5D64C94-EE02-423B-833F-D557E0C9C497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  <p:pic>
        <p:nvPicPr>
          <p:cNvPr id="7" name="Picture 6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20170" y="125717"/>
            <a:ext cx="889961" cy="451827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All On Logo + Were all in for Sustainable energy.png"/>
          <p:cNvPicPr>
            <a:picLocks noChangeAspect="1"/>
          </p:cNvPicPr>
          <p:nvPr userDrawn="1"/>
        </p:nvPicPr>
        <p:blipFill>
          <a:blip r:embed="rId2" cstate="print"/>
          <a:srcRect l="24627" t="39772" r="53657" b="39080"/>
          <a:stretch>
            <a:fillRect/>
          </a:stretch>
        </p:blipFill>
        <p:spPr>
          <a:xfrm>
            <a:off x="8038566" y="4489936"/>
            <a:ext cx="919239" cy="504000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1529862"/>
            <a:ext cx="9144000" cy="1698766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defRPr sz="4000" b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9" name="Date Placeholder 8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6AF2F495-E957-4188-A261-5038E0B4C0F5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0" name="Footer Placeholder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9144000" cy="5143500"/>
          </a:xfrm>
          <a:noFill/>
          <a:ln>
            <a:noFill/>
          </a:ln>
        </p:spPr>
        <p:txBody>
          <a:bodyPr/>
          <a:lstStyle>
            <a:lvl1pPr>
              <a:defRPr sz="1400"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0" y="1565031"/>
            <a:ext cx="9144000" cy="1628428"/>
          </a:xfrm>
          <a:noFill/>
        </p:spPr>
        <p:txBody>
          <a:bodyPr anchor="ctr"/>
          <a:lstStyle>
            <a:lvl1pPr algn="ctr">
              <a:lnSpc>
                <a:spcPct val="100000"/>
              </a:lnSpc>
              <a:defRPr sz="4000" b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pic>
        <p:nvPicPr>
          <p:cNvPr id="4" name="Picture 3" descr="All On Logo + Were all in for Sustainable energy.png"/>
          <p:cNvPicPr>
            <a:picLocks noChangeAspect="1"/>
          </p:cNvPicPr>
          <p:nvPr userDrawn="1"/>
        </p:nvPicPr>
        <p:blipFill>
          <a:blip r:embed="rId2" cstate="print"/>
          <a:srcRect l="24627" t="39772" r="53657" b="39080"/>
          <a:stretch>
            <a:fillRect/>
          </a:stretch>
        </p:blipFill>
        <p:spPr>
          <a:xfrm>
            <a:off x="8038566" y="4489936"/>
            <a:ext cx="919239" cy="504000"/>
          </a:xfrm>
          <a:prstGeom prst="rect">
            <a:avLst/>
          </a:prstGeom>
        </p:spPr>
      </p:pic>
      <p:sp>
        <p:nvSpPr>
          <p:cNvPr id="8" name="Date Placeholder 7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A1CE78E8-F820-49E0-BF0D-46818E44399D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9" name="Footer Placeholder 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-1" y="0"/>
            <a:ext cx="914400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1831" y="1122363"/>
            <a:ext cx="6869378" cy="770397"/>
          </a:xfrm>
        </p:spPr>
        <p:txBody>
          <a:bodyPr anchor="b"/>
          <a:lstStyle>
            <a:lvl1pPr>
              <a:lnSpc>
                <a:spcPts val="2000"/>
              </a:lnSpc>
              <a:defRPr sz="2400" b="1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0"/>
          </p:nvPr>
        </p:nvSpPr>
        <p:spPr>
          <a:xfrm>
            <a:off x="411831" y="1952707"/>
            <a:ext cx="6876382" cy="1233075"/>
          </a:xfrm>
        </p:spPr>
        <p:txBody>
          <a:bodyPr/>
          <a:lstStyle>
            <a:lvl1pPr>
              <a:lnSpc>
                <a:spcPts val="2000"/>
              </a:lnSpc>
              <a:defRPr sz="1900" b="0">
                <a:solidFill>
                  <a:schemeClr val="accent3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pic>
        <p:nvPicPr>
          <p:cNvPr id="6" name="Picture 5" descr="All On Logo + Were all in for Sustainable energy.png"/>
          <p:cNvPicPr>
            <a:picLocks noChangeAspect="1"/>
          </p:cNvPicPr>
          <p:nvPr userDrawn="1"/>
        </p:nvPicPr>
        <p:blipFill rotWithShape="1">
          <a:blip r:embed="rId2" cstate="print"/>
          <a:srcRect l="24437" t="39179" r="53484" b="39080"/>
          <a:stretch/>
        </p:blipFill>
        <p:spPr>
          <a:xfrm>
            <a:off x="381751" y="4050741"/>
            <a:ext cx="1320716" cy="732187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1806072" y="4169416"/>
            <a:ext cx="4572000" cy="4247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en-GB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ergy Innovations.</a:t>
            </a:r>
            <a:br>
              <a:rPr lang="en-GB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GB" sz="12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owerful Collaborations.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7986239" y="3896587"/>
            <a:ext cx="931488" cy="813412"/>
            <a:chOff x="3689735" y="4106251"/>
            <a:chExt cx="931488" cy="813412"/>
          </a:xfrm>
        </p:grpSpPr>
        <p:pic>
          <p:nvPicPr>
            <p:cNvPr id="18" name="Picture 17" descr="Shell_jan2013_PECTEN_PC_MS_RGB.wmf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3795654" y="4193005"/>
              <a:ext cx="726658" cy="726658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 userDrawn="1"/>
          </p:nvSpPr>
          <p:spPr>
            <a:xfrm>
              <a:off x="3689735" y="4106251"/>
              <a:ext cx="931488" cy="10772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700" b="0" dirty="0">
                  <a:solidFill>
                    <a:schemeClr val="bg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ogether with</a:t>
              </a:r>
              <a:endParaRPr lang="en-GB" sz="700" b="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2" name="Date Placeholder 11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151BF869-076D-47E8-AED7-95C1402EC20F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3" name="Footer Placeholder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5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d Slide (Mandatory)">
    <p:bg>
      <p:bgPr>
        <a:solidFill>
          <a:srgbClr val="380F0F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Mandatory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592764" y="2062893"/>
            <a:ext cx="1957702" cy="993912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7694738" y="3952496"/>
            <a:ext cx="1343752" cy="1173418"/>
            <a:chOff x="3689735" y="4106251"/>
            <a:chExt cx="931488" cy="813412"/>
          </a:xfrm>
        </p:grpSpPr>
        <p:pic>
          <p:nvPicPr>
            <p:cNvPr id="7" name="Picture 6" descr="Shell_jan2013_PECTEN_PC_MS_RGB.wmf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3795654" y="4193005"/>
              <a:ext cx="726658" cy="726658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 userDrawn="1"/>
          </p:nvSpPr>
          <p:spPr>
            <a:xfrm>
              <a:off x="3689735" y="4106251"/>
              <a:ext cx="931488" cy="9600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900" b="0" dirty="0">
                  <a:solidFill>
                    <a:schemeClr val="tx1"/>
                  </a:solidFill>
                  <a:latin typeface="Verdana" pitchFamily="34" charset="0"/>
                  <a:ea typeface="Verdana" pitchFamily="34" charset="0"/>
                  <a:cs typeface="Verdana" pitchFamily="34" charset="0"/>
                </a:rPr>
                <a:t>Together with</a:t>
              </a:r>
              <a:endParaRPr lang="en-GB" sz="900" b="0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on with edita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Picture 6" descr="All On Logo + Were all in for Sustainable energy.png"/>
          <p:cNvPicPr>
            <a:picLocks noChangeAspect="1"/>
          </p:cNvPicPr>
          <p:nvPr userDrawn="1"/>
        </p:nvPicPr>
        <p:blipFill rotWithShape="1">
          <a:blip r:embed="rId2" cstate="print"/>
          <a:srcRect l="24437" t="39179" r="53484" b="39080"/>
          <a:stretch/>
        </p:blipFill>
        <p:spPr>
          <a:xfrm>
            <a:off x="2253969" y="2015176"/>
            <a:ext cx="2017089" cy="1118247"/>
          </a:xfrm>
          <a:prstGeom prst="rect">
            <a:avLst/>
          </a:prstGeom>
        </p:spPr>
      </p:pic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60471" y="2105527"/>
            <a:ext cx="3945855" cy="848310"/>
          </a:xfrm>
        </p:spPr>
        <p:txBody>
          <a:bodyPr anchor="ctr"/>
          <a:lstStyle>
            <a:lvl1pPr marL="0" algn="l" defTabSz="914400" rtl="0" eaLnBrk="1" latinLnBrk="0" hangingPunct="1">
              <a:lnSpc>
                <a:spcPct val="90000"/>
              </a:lnSpc>
              <a:defRPr lang="en-GB" sz="1800" kern="1200" dirty="0" smtClean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Date Placeholder 4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71C7FEE0-61AE-470B-AC20-81B526A4F741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621" y="45789"/>
            <a:ext cx="8351283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28624" y="1327150"/>
            <a:ext cx="8323263" cy="3046413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432000" indent="-216000">
              <a:lnSpc>
                <a:spcPct val="100000"/>
              </a:lnSpc>
              <a:buClr>
                <a:schemeClr val="accent1"/>
              </a:buClr>
              <a:buSzPct val="10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4" name="Date Placeholder 13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C23B9898-E501-4A18-93F7-50232FCB483F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5" name="Footer Placeholder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12637" y="45789"/>
            <a:ext cx="8351283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  <p:sp>
        <p:nvSpPr>
          <p:cNvPr id="8" name="Table Placeholder 7"/>
          <p:cNvSpPr>
            <a:spLocks noGrp="1"/>
          </p:cNvSpPr>
          <p:nvPr>
            <p:ph type="tbl" sz="quarter" idx="10"/>
          </p:nvPr>
        </p:nvSpPr>
        <p:spPr>
          <a:xfrm>
            <a:off x="428626" y="1327150"/>
            <a:ext cx="7193380" cy="3046413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Date Placeholder 9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665FFB4A-5581-42A4-99C6-209F3BFDB741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1" name="Footer Placeholder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621" y="45789"/>
            <a:ext cx="8351283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0"/>
          </p:nvPr>
        </p:nvSpPr>
        <p:spPr>
          <a:xfrm>
            <a:off x="428625" y="1327150"/>
            <a:ext cx="7115175" cy="3046413"/>
          </a:xfr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Date Placeholder 9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99AECAC8-C345-4EBF-96C4-43EDBACCF8CF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1" name="Footer Placeholder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  <p:pic>
        <p:nvPicPr>
          <p:cNvPr id="9" name="Picture 8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20170" y="125717"/>
            <a:ext cx="889961" cy="451827"/>
          </a:xfrm>
          <a:prstGeom prst="rect">
            <a:avLst/>
          </a:prstGeom>
        </p:spPr>
      </p:pic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621" y="45789"/>
            <a:ext cx="8351283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428625" y="1327150"/>
            <a:ext cx="3920792" cy="3046413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432000" indent="-216000">
              <a:lnSpc>
                <a:spcPct val="100000"/>
              </a:lnSpc>
              <a:buClr>
                <a:schemeClr val="accent1"/>
              </a:buClr>
              <a:buSzPct val="10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1"/>
          </p:nvPr>
        </p:nvSpPr>
        <p:spPr>
          <a:xfrm>
            <a:off x="4831096" y="1327150"/>
            <a:ext cx="3920792" cy="3046413"/>
          </a:xfrm>
        </p:spPr>
        <p:txBody>
          <a:bodyPr/>
          <a:lstStyle>
            <a:lvl1pPr>
              <a:lnSpc>
                <a:spcPct val="100000"/>
              </a:lnSpc>
              <a:spcAft>
                <a:spcPts val="600"/>
              </a:spcAft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Aft>
                <a:spcPts val="600"/>
              </a:spcAft>
              <a:buClr>
                <a:schemeClr val="accent1"/>
              </a:buClr>
              <a:defRPr sz="14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  <a:lvl3pPr marL="432000" indent="-216000">
              <a:lnSpc>
                <a:spcPct val="100000"/>
              </a:lnSpc>
              <a:buClr>
                <a:schemeClr val="tx2"/>
              </a:buClr>
              <a:buSzPct val="100000"/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  <a:endParaRPr lang="en-GB" dirty="0"/>
          </a:p>
        </p:txBody>
      </p:sp>
      <p:sp>
        <p:nvSpPr>
          <p:cNvPr id="11" name="Date Placeholder 10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ECD1C55B-933C-4331-83E8-CB78D34E5B3C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2" name="Footer Placeholder 11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-1" y="0"/>
            <a:ext cx="9144001" cy="990115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621" y="45789"/>
            <a:ext cx="8351283" cy="78950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5" name="Picture 4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28625" y="1327150"/>
            <a:ext cx="8323263" cy="3046413"/>
          </a:xfrm>
        </p:spPr>
        <p:txBody>
          <a:bodyPr/>
          <a:lstStyle>
            <a:lvl1pPr>
              <a:defRPr lang="en-US" sz="1200" kern="1200" baseline="0" dirty="0" smtClean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>
              <a:defRPr lang="en-US" sz="1400" b="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432000" indent="-216000">
              <a:lnSpc>
                <a:spcPct val="100000"/>
              </a:lnSpc>
              <a:buClr>
                <a:schemeClr val="bg2"/>
              </a:buClr>
              <a:buSzPct val="100000"/>
              <a:buFont typeface="Symbol" pitchFamily="18" charset="2"/>
              <a:buChar char="-"/>
              <a:defRPr sz="1400"/>
            </a:lvl3pPr>
          </a:lstStyle>
          <a:p>
            <a:pPr marL="0" lvl="0" indent="0" algn="l" defTabSz="26828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itchFamily="2" charset="2"/>
              <a:buNone/>
            </a:pPr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10" name="Date Placeholder 9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E44D0AE9-1CC7-4B1B-BD75-E0905AB12592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11" name="Footer Placeholder 10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-1" y="0"/>
            <a:ext cx="2927351" cy="5143500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966" y="615280"/>
            <a:ext cx="2355283" cy="37582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1600" b="1" cap="none" baseline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GB" noProof="0" dirty="0"/>
              <a:t>Click to edit Master title style</a:t>
            </a:r>
          </a:p>
        </p:txBody>
      </p:sp>
      <p:pic>
        <p:nvPicPr>
          <p:cNvPr id="4" name="Picture 3" descr="All On Logo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054334" y="4507522"/>
            <a:ext cx="889961" cy="451827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200400" y="613361"/>
            <a:ext cx="5551488" cy="3760202"/>
          </a:xfrm>
        </p:spPr>
        <p:txBody>
          <a:bodyPr/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  <a:lvl2pPr marL="216000" indent="-216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defRPr sz="12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  <a:endParaRPr lang="en-GB" dirty="0"/>
          </a:p>
        </p:txBody>
      </p:sp>
      <p:sp>
        <p:nvSpPr>
          <p:cNvPr id="7" name="Date Placeholder 6" descr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053073" y="4875347"/>
            <a:ext cx="1080000" cy="1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fld id="{F14EA8F8-41FA-4A1D-AAA3-98CEF086EDC2}" type="datetime1">
              <a:rPr lang="en-US" smtClean="0"/>
              <a:pPr/>
              <a:t>6/3/2019</a:t>
            </a:fld>
            <a:endParaRPr lang="en-GB" dirty="0"/>
          </a:p>
        </p:txBody>
      </p:sp>
      <p:sp>
        <p:nvSpPr>
          <p:cNvPr id="8" name="Footer Placeholder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09925" y="4875346"/>
            <a:ext cx="1800000" cy="21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45720" numCol="1" anchor="t" anchorCtr="0" compatLnSpc="1">
            <a:prstTxWarp prst="textNoShape">
              <a:avLst/>
            </a:prstTxWarp>
          </a:bodyPr>
          <a:lstStyle>
            <a:lvl1pPr algn="l">
              <a:defRPr sz="60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>
              <a:defRPr/>
            </a:pPr>
            <a:r>
              <a:rPr lang="en-GB"/>
              <a:t> Footer if needed</a:t>
            </a:r>
            <a:endParaRPr lang="en-US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2"/>
          </p:nvPr>
        </p:nvSpPr>
        <p:spPr>
          <a:xfrm>
            <a:off x="428624" y="4875344"/>
            <a:ext cx="2333625" cy="216000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</a:t>
            </a:r>
            <a:endParaRPr lang="en-GB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704" y="982801"/>
            <a:ext cx="7747176" cy="3803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marL="216000" lvl="1" indent="-216000" algn="l" defTabSz="26828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SzPct val="85000"/>
              <a:buFont typeface="Wingdings" pitchFamily="2" charset="2"/>
              <a:buChar char="n"/>
            </a:pPr>
            <a:r>
              <a:rPr lang="en-GB" dirty="0"/>
              <a:t>Second level</a:t>
            </a:r>
          </a:p>
          <a:p>
            <a:pPr marL="432000" lvl="2" indent="-216000" algn="l" defTabSz="268288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2"/>
              </a:buClr>
              <a:buSzPct val="100000"/>
              <a:buFont typeface="Symbol" pitchFamily="18" charset="2"/>
              <a:buChar char="-"/>
            </a:pPr>
            <a:r>
              <a:rPr lang="en-GB" dirty="0"/>
              <a:t>Third level</a:t>
            </a:r>
          </a:p>
        </p:txBody>
      </p:sp>
      <p:sp>
        <p:nvSpPr>
          <p:cNvPr id="1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00114" y="221441"/>
            <a:ext cx="7700963" cy="31432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11" r:id="rId2"/>
    <p:sldLayoutId id="2147483695" r:id="rId3"/>
    <p:sldLayoutId id="2147483689" r:id="rId4"/>
    <p:sldLayoutId id="2147483717" r:id="rId5"/>
    <p:sldLayoutId id="2147483718" r:id="rId6"/>
    <p:sldLayoutId id="2147483713" r:id="rId7"/>
    <p:sldLayoutId id="2147483709" r:id="rId8"/>
    <p:sldLayoutId id="2147483710" r:id="rId9"/>
    <p:sldLayoutId id="2147483703" r:id="rId10"/>
    <p:sldLayoutId id="2147483715" r:id="rId11"/>
    <p:sldLayoutId id="2147483707" r:id="rId12"/>
    <p:sldLayoutId id="2147483732" r:id="rId13"/>
    <p:sldLayoutId id="2147483714" r:id="rId14"/>
    <p:sldLayoutId id="2147483705" r:id="rId15"/>
    <p:sldLayoutId id="2147483723" r:id="rId16"/>
    <p:sldLayoutId id="2147483696" r:id="rId17"/>
    <p:sldLayoutId id="2147483719" r:id="rId18"/>
    <p:sldLayoutId id="2147483716" r:id="rId19"/>
    <p:sldLayoutId id="2147483720" r:id="rId20"/>
    <p:sldLayoutId id="2147483683" r:id="rId21"/>
  </p:sldLayoutIdLst>
  <p:transition>
    <p:fade/>
  </p:transition>
  <p:hf sldNum="0" hdr="0"/>
  <p:txStyles>
    <p:titleStyle>
      <a:lvl1pPr algn="l" defTabSz="914400" rtl="0" eaLnBrk="1" latinLnBrk="0" hangingPunct="1">
        <a:spcBef>
          <a:spcPct val="0"/>
        </a:spcBef>
        <a:buNone/>
        <a:defRPr sz="2000" b="1" kern="1200" cap="none" baseline="0">
          <a:solidFill>
            <a:schemeClr val="bg1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0" indent="0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SzPct val="85000"/>
        <a:buFont typeface="Wingdings" pitchFamily="2" charset="2"/>
        <a:buNone/>
        <a:defRPr sz="1800" kern="1200" baseline="0">
          <a:solidFill>
            <a:schemeClr val="accent4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269875" indent="-269875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2"/>
        </a:buClr>
        <a:buSzPct val="85000"/>
        <a:buFont typeface="Wingdings" pitchFamily="2" charset="2"/>
        <a:buChar char="n"/>
        <a:defRPr lang="en-GB" sz="1600" b="0" kern="1200" dirty="0" smtClean="0">
          <a:solidFill>
            <a:schemeClr val="accent4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454025" indent="-184150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"/>
        <a:defRPr lang="en-GB" sz="1400" b="0" kern="1200" dirty="0" smtClean="0">
          <a:solidFill>
            <a:schemeClr val="accent4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631825" indent="-177800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"/>
        <a:defRPr sz="16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11213" indent="-173038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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989013" indent="-177800" algn="l" defTabSz="268288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tx1"/>
        </a:buClr>
        <a:buSzPct val="75000"/>
        <a:buFont typeface="Wingdings" pitchFamily="2" charset="2"/>
        <a:buChar char="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png"/><Relationship Id="rId18" Type="http://schemas.openxmlformats.org/officeDocument/2006/relationships/image" Target="../media/image52.png"/><Relationship Id="rId26" Type="http://schemas.openxmlformats.org/officeDocument/2006/relationships/image" Target="../media/image60.png"/><Relationship Id="rId3" Type="http://schemas.openxmlformats.org/officeDocument/2006/relationships/image" Target="../media/image37.jpeg"/><Relationship Id="rId21" Type="http://schemas.openxmlformats.org/officeDocument/2006/relationships/image" Target="../media/image55.png"/><Relationship Id="rId34" Type="http://schemas.openxmlformats.org/officeDocument/2006/relationships/image" Target="../media/image32.png"/><Relationship Id="rId7" Type="http://schemas.openxmlformats.org/officeDocument/2006/relationships/image" Target="../media/image41.png"/><Relationship Id="rId12" Type="http://schemas.openxmlformats.org/officeDocument/2006/relationships/image" Target="../media/image46.png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33" Type="http://schemas.openxmlformats.org/officeDocument/2006/relationships/image" Target="../media/image65.png"/><Relationship Id="rId2" Type="http://schemas.openxmlformats.org/officeDocument/2006/relationships/image" Target="../media/image36.png"/><Relationship Id="rId16" Type="http://schemas.openxmlformats.org/officeDocument/2006/relationships/image" Target="../media/image50.png"/><Relationship Id="rId20" Type="http://schemas.openxmlformats.org/officeDocument/2006/relationships/image" Target="../media/image54.png"/><Relationship Id="rId29" Type="http://schemas.openxmlformats.org/officeDocument/2006/relationships/image" Target="../media/image63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0.png"/><Relationship Id="rId11" Type="http://schemas.openxmlformats.org/officeDocument/2006/relationships/image" Target="../media/image45.png"/><Relationship Id="rId24" Type="http://schemas.openxmlformats.org/officeDocument/2006/relationships/image" Target="../media/image58.png"/><Relationship Id="rId32" Type="http://schemas.openxmlformats.org/officeDocument/2006/relationships/image" Target="../media/image64.png"/><Relationship Id="rId5" Type="http://schemas.openxmlformats.org/officeDocument/2006/relationships/image" Target="../media/image39.jpeg"/><Relationship Id="rId15" Type="http://schemas.openxmlformats.org/officeDocument/2006/relationships/image" Target="../media/image49.png"/><Relationship Id="rId23" Type="http://schemas.openxmlformats.org/officeDocument/2006/relationships/image" Target="../media/image57.jpeg"/><Relationship Id="rId28" Type="http://schemas.openxmlformats.org/officeDocument/2006/relationships/image" Target="../media/image62.jpeg"/><Relationship Id="rId10" Type="http://schemas.openxmlformats.org/officeDocument/2006/relationships/image" Target="../media/image44.png"/><Relationship Id="rId19" Type="http://schemas.openxmlformats.org/officeDocument/2006/relationships/image" Target="../media/image53.png"/><Relationship Id="rId31" Type="http://schemas.openxmlformats.org/officeDocument/2006/relationships/image" Target="../media/image3.png"/><Relationship Id="rId4" Type="http://schemas.openxmlformats.org/officeDocument/2006/relationships/image" Target="../media/image38.png"/><Relationship Id="rId9" Type="http://schemas.openxmlformats.org/officeDocument/2006/relationships/image" Target="../media/image43.png"/><Relationship Id="rId14" Type="http://schemas.openxmlformats.org/officeDocument/2006/relationships/image" Target="../media/image48.png"/><Relationship Id="rId22" Type="http://schemas.openxmlformats.org/officeDocument/2006/relationships/image" Target="../media/image56.png"/><Relationship Id="rId27" Type="http://schemas.openxmlformats.org/officeDocument/2006/relationships/image" Target="../media/image61.jpg"/><Relationship Id="rId30" Type="http://schemas.openxmlformats.org/officeDocument/2006/relationships/image" Target="../media/image33.png"/><Relationship Id="rId35" Type="http://schemas.openxmlformats.org/officeDocument/2006/relationships/image" Target="../media/image35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3.png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slideLayout" Target="../slideLayouts/slideLayout15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chart" Target="../charts/char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chart" Target="../charts/char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hyperlink" Target="http://www.cia.gov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tags" Target="../tags/tag51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33" Type="http://schemas.openxmlformats.org/officeDocument/2006/relationships/chart" Target="../charts/chart3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29" Type="http://schemas.openxmlformats.org/officeDocument/2006/relationships/tags" Target="../tags/tag54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32" Type="http://schemas.openxmlformats.org/officeDocument/2006/relationships/slideLayout" Target="../slideLayouts/slideLayout15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28" Type="http://schemas.openxmlformats.org/officeDocument/2006/relationships/tags" Target="../tags/tag53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31" Type="http://schemas.openxmlformats.org/officeDocument/2006/relationships/tags" Target="../tags/tag56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tags" Target="../tags/tag52.xml"/><Relationship Id="rId30" Type="http://schemas.openxmlformats.org/officeDocument/2006/relationships/tags" Target="../tags/tag5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5.jpeg"/><Relationship Id="rId5" Type="http://schemas.openxmlformats.org/officeDocument/2006/relationships/tags" Target="../tags/tag61.xml"/><Relationship Id="rId10" Type="http://schemas.openxmlformats.org/officeDocument/2006/relationships/slideLayout" Target="../slideLayouts/slideLayout15.xml"/><Relationship Id="rId4" Type="http://schemas.openxmlformats.org/officeDocument/2006/relationships/tags" Target="../tags/tag60.xml"/><Relationship Id="rId9" Type="http://schemas.openxmlformats.org/officeDocument/2006/relationships/tags" Target="../tags/tag6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26" Type="http://schemas.openxmlformats.org/officeDocument/2006/relationships/image" Target="../media/image34.png"/><Relationship Id="rId3" Type="http://schemas.openxmlformats.org/officeDocument/2006/relationships/image" Target="../media/image11.png"/><Relationship Id="rId21" Type="http://schemas.openxmlformats.org/officeDocument/2006/relationships/image" Target="../media/image29.png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5" Type="http://schemas.openxmlformats.org/officeDocument/2006/relationships/image" Target="../media/image33.png"/><Relationship Id="rId2" Type="http://schemas.openxmlformats.org/officeDocument/2006/relationships/image" Target="../media/image10.png"/><Relationship Id="rId16" Type="http://schemas.openxmlformats.org/officeDocument/2006/relationships/image" Target="../media/image24.png"/><Relationship Id="rId20" Type="http://schemas.openxmlformats.org/officeDocument/2006/relationships/image" Target="../media/image28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11" Type="http://schemas.openxmlformats.org/officeDocument/2006/relationships/image" Target="../media/image19.png"/><Relationship Id="rId24" Type="http://schemas.openxmlformats.org/officeDocument/2006/relationships/image" Target="../media/image32.png"/><Relationship Id="rId5" Type="http://schemas.openxmlformats.org/officeDocument/2006/relationships/image" Target="../media/image13.png"/><Relationship Id="rId15" Type="http://schemas.openxmlformats.org/officeDocument/2006/relationships/image" Target="../media/image23.png"/><Relationship Id="rId23" Type="http://schemas.openxmlformats.org/officeDocument/2006/relationships/image" Target="../media/image31.png"/><Relationship Id="rId10" Type="http://schemas.openxmlformats.org/officeDocument/2006/relationships/image" Target="../media/image18.png"/><Relationship Id="rId19" Type="http://schemas.openxmlformats.org/officeDocument/2006/relationships/image" Target="../media/image27.png"/><Relationship Id="rId4" Type="http://schemas.openxmlformats.org/officeDocument/2006/relationships/image" Target="../media/image12.jpeg"/><Relationship Id="rId9" Type="http://schemas.openxmlformats.org/officeDocument/2006/relationships/image" Target="../media/image17.png"/><Relationship Id="rId14" Type="http://schemas.openxmlformats.org/officeDocument/2006/relationships/image" Target="../media/image22.png"/><Relationship Id="rId22" Type="http://schemas.openxmlformats.org/officeDocument/2006/relationships/image" Target="../media/image30.png"/><Relationship Id="rId27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We are contributing Statement.jpg"/>
          <p:cNvPicPr>
            <a:picLocks noGrp="1" noChangeAspect="1"/>
          </p:cNvPicPr>
          <p:nvPr>
            <p:ph type="pic" sz="quarter" idx="11"/>
          </p:nvPr>
        </p:nvPicPr>
        <p:blipFill>
          <a:blip r:embed="rId2" cstate="print"/>
          <a:srcRect t="408" b="408"/>
          <a:stretch>
            <a:fillRect/>
          </a:stretch>
        </p:blipFill>
        <p:spPr/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835" y="798588"/>
            <a:ext cx="3960660" cy="1211680"/>
          </a:xfrm>
        </p:spPr>
        <p:txBody>
          <a:bodyPr/>
          <a:lstStyle/>
          <a:p>
            <a:r>
              <a:rPr lang="en-GB" dirty="0"/>
              <a:t>Launching the Nigerian Off Grid Energy Revolution:  Challenges &amp; Opportunities</a:t>
            </a:r>
            <a:br>
              <a:rPr lang="en-GB" i="1" dirty="0"/>
            </a:br>
            <a:br>
              <a:rPr lang="en-GB" i="1" dirty="0"/>
            </a:br>
            <a:r>
              <a:rPr lang="en-GB" sz="1600" i="1" dirty="0">
                <a:solidFill>
                  <a:srgbClr val="E37012"/>
                </a:solidFill>
              </a:rPr>
              <a:t>TechPoint Inspired , June 2019</a:t>
            </a:r>
            <a:r>
              <a:rPr lang="en-GB" sz="1600" dirty="0"/>
              <a:t> </a:t>
            </a:r>
          </a:p>
        </p:txBody>
      </p:sp>
      <p:pic>
        <p:nvPicPr>
          <p:cNvPr id="6" name="Picture 5" descr="Shell_jan2013_PECTEN_PC_MS_RGB.wmf">
            <a:extLst>
              <a:ext uri="{FF2B5EF4-FFF2-40B4-BE49-F238E27FC236}">
                <a16:creationId xmlns:a16="http://schemas.microsoft.com/office/drawing/2014/main" id="{C64AC097-3525-48DD-9CD0-0761EC6302CC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00052" y="4105690"/>
            <a:ext cx="968877" cy="96887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FCA4B60-7DCE-4E53-BE85-CE75656DA3EB}"/>
              </a:ext>
            </a:extLst>
          </p:cNvPr>
          <p:cNvSpPr/>
          <p:nvPr/>
        </p:nvSpPr>
        <p:spPr>
          <a:xfrm>
            <a:off x="7390203" y="3990018"/>
            <a:ext cx="1611872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4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Together with</a:t>
            </a:r>
            <a:endParaRPr lang="en-GB" sz="1400" b="1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853153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F8A3B9-5880-41DF-AA43-C53CC318BA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e is an active and fast growing off grid energy ecosystem to tap in to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A43D59-7614-42B5-B6F3-F3CA970ECE0A}"/>
              </a:ext>
            </a:extLst>
          </p:cNvPr>
          <p:cNvSpPr txBox="1"/>
          <p:nvPr/>
        </p:nvSpPr>
        <p:spPr>
          <a:xfrm>
            <a:off x="467451" y="1300001"/>
            <a:ext cx="2099430" cy="210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14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no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329397F-2B98-4ADF-A870-DE3E0CAA59A9}"/>
              </a:ext>
            </a:extLst>
          </p:cNvPr>
          <p:cNvSpPr txBox="1"/>
          <p:nvPr/>
        </p:nvSpPr>
        <p:spPr>
          <a:xfrm>
            <a:off x="3301623" y="1300001"/>
            <a:ext cx="2099430" cy="210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14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act Investo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0731065-0124-4477-8611-E51C140F980C}"/>
              </a:ext>
            </a:extLst>
          </p:cNvPr>
          <p:cNvSpPr txBox="1"/>
          <p:nvPr/>
        </p:nvSpPr>
        <p:spPr>
          <a:xfrm>
            <a:off x="6135795" y="1300001"/>
            <a:ext cx="2099430" cy="21051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14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trepreneur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2E7DBC4-A457-451B-92BD-11CCC780283F}"/>
              </a:ext>
            </a:extLst>
          </p:cNvPr>
          <p:cNvSpPr/>
          <p:nvPr/>
        </p:nvSpPr>
        <p:spPr bwMode="auto">
          <a:xfrm>
            <a:off x="406621" y="1624388"/>
            <a:ext cx="2781300" cy="3163512"/>
          </a:xfrm>
          <a:prstGeom prst="rect">
            <a:avLst/>
          </a:prstGeom>
          <a:solidFill>
            <a:srgbClr val="F6DCDC">
              <a:alpha val="61176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B9544D8-FF25-4AD8-8C32-D47091492B9C}"/>
              </a:ext>
            </a:extLst>
          </p:cNvPr>
          <p:cNvSpPr/>
          <p:nvPr/>
        </p:nvSpPr>
        <p:spPr bwMode="auto">
          <a:xfrm>
            <a:off x="3275020" y="1611744"/>
            <a:ext cx="2781300" cy="3176155"/>
          </a:xfrm>
          <a:prstGeom prst="rect">
            <a:avLst/>
          </a:prstGeom>
          <a:solidFill>
            <a:srgbClr val="FBE2CE">
              <a:alpha val="61176"/>
            </a:srgb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+mn-lt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9A3FBEB-51D0-47C7-BB40-DB66ED400A43}"/>
              </a:ext>
            </a:extLst>
          </p:cNvPr>
          <p:cNvSpPr/>
          <p:nvPr/>
        </p:nvSpPr>
        <p:spPr bwMode="auto">
          <a:xfrm>
            <a:off x="6121412" y="1611745"/>
            <a:ext cx="2781300" cy="3176155"/>
          </a:xfrm>
          <a:prstGeom prst="rect">
            <a:avLst/>
          </a:prstGeom>
          <a:solidFill>
            <a:schemeClr val="accent2">
              <a:lumMod val="40000"/>
              <a:lumOff val="60000"/>
              <a:alpha val="56863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A021651-78F3-4DB4-8BA9-656AC74AEF58}"/>
              </a:ext>
            </a:extLst>
          </p:cNvPr>
          <p:cNvSpPr txBox="1"/>
          <p:nvPr/>
        </p:nvSpPr>
        <p:spPr>
          <a:xfrm>
            <a:off x="888411" y="1707703"/>
            <a:ext cx="2290007" cy="29608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 Africa Nigeria Power Sector Program II (2018 – 2023) implemented by Deloitte 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Z Nigeria Energy Support program (€33m) (2017 – 2020) - technical assistance and capital grants for procurement of electrical equipment; 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World Bank: $350m program for result-based grants for the off-grid sector which is awaiting Nigerian Senate approval.  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frican Development Bank: Committed another $200 million to the World Bank program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nref</a:t>
            </a: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gram (€74m) lending program in conjunction with EU, disbursed  through local commercial banks 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hell Foundation: operating through the Nigeria Off-Grid Energy Market Acceleration Program (NOMAP), the Energy Company of the Future initiative, and grants to companies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FID Solar Nigeria grant program (£11m) </a:t>
            </a:r>
            <a:b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2014 - 2020); </a:t>
            </a:r>
          </a:p>
          <a:p>
            <a:pPr>
              <a:lnSpc>
                <a:spcPct val="113000"/>
              </a:lnSpc>
              <a:spcAft>
                <a:spcPts val="60"/>
              </a:spcAft>
            </a:pPr>
            <a:endParaRPr lang="en-US" sz="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ct val="113000"/>
              </a:lnSpc>
              <a:spcAft>
                <a:spcPts val="60"/>
              </a:spcAft>
            </a:pP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ther USG Power Africa partners including USADF (operating in partnership with All On), and USTDA;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DBC87A1C-04C5-47D5-AEE4-56DA04047D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043" y="1704390"/>
            <a:ext cx="278831" cy="278831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89BC095-1EC6-48E3-9F9F-5FC8F2D035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129" y="2097695"/>
            <a:ext cx="358725" cy="153114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1270988-E18B-4A41-8C2B-77B259222ED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333" y="4398222"/>
            <a:ext cx="265475" cy="265475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E8109A1-BECA-4B95-AB6C-9336B42BA1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309" y="3216210"/>
            <a:ext cx="388261" cy="19413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28BF6BD3-EBCE-45A8-A9BD-8549668AC55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937" y="4091149"/>
            <a:ext cx="277856" cy="19172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C0DECBC-3FC7-4925-8158-E808175CDE1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141" y="3658070"/>
            <a:ext cx="402594" cy="24093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A5E9D6D-17A3-47EB-8432-5FB11EAD542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139" y="2522884"/>
            <a:ext cx="428622" cy="90011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6E9C1BC0-7ED0-4556-99C1-67ADB19FEAC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47" y="2866527"/>
            <a:ext cx="396501" cy="211124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E0CBE851-E752-41FA-8736-F8FF75997A6F}"/>
              </a:ext>
            </a:extLst>
          </p:cNvPr>
          <p:cNvSpPr/>
          <p:nvPr/>
        </p:nvSpPr>
        <p:spPr>
          <a:xfrm>
            <a:off x="3747981" y="1704390"/>
            <a:ext cx="2295011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Electrification Financing Initiative (</a:t>
            </a:r>
            <a:r>
              <a:rPr lang="en-US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ectriFI</a:t>
            </a: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funded by the European Commission and managed by the Association of European Development Finance Institutions (EDFI) - €120m global facility and €30m Nigerian focused facilities; </a:t>
            </a:r>
          </a:p>
          <a:p>
            <a:pPr algn="just"/>
            <a:endParaRPr lang="en-US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reakthrough Energy Ventures (Bill Gates, Richard Branson);</a:t>
            </a:r>
          </a:p>
          <a:p>
            <a:pPr algn="just"/>
            <a:endParaRPr lang="en-US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umen; a non-profit impact investment fund focused on ;ow-income communities in developing countries across Sub-Saharan Africa, South Asia, Latin America</a:t>
            </a:r>
          </a:p>
          <a:p>
            <a:pPr algn="just"/>
            <a:endParaRPr lang="en-US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nFunder</a:t>
            </a:r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 a solar energy finance business with a mission to provide debt financing for solar assets in emerging economies</a:t>
            </a:r>
          </a:p>
          <a:p>
            <a:pPr algn="just"/>
            <a:endParaRPr lang="en-US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just"/>
            <a:r>
              <a:rPr lang="en-US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rsistent Energy Capital; a principal investment firm investing in, incubates, and advises businesses providing distributed renewable energy to off-grid customers.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B47410AE-AE97-40AA-A029-35418BB7389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032" y="2861890"/>
            <a:ext cx="210519" cy="210519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5F4176C-037C-43F7-B03C-6C3B279FB2A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5549" y="3384318"/>
            <a:ext cx="262856" cy="262856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16B48B99-2DB3-44B2-B878-89FF6DE31B4B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307" y="2498162"/>
            <a:ext cx="525634" cy="147177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4922409-9280-4F4C-AE89-EB0BD9C9A41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3694" y="3824399"/>
            <a:ext cx="251784" cy="299452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7ABC454A-2AC1-45C0-93D5-24EA616DB545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7479" y="1745078"/>
            <a:ext cx="458866" cy="218508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27FC7008-639C-4577-8756-250D897F5CDC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1808" y="1740789"/>
            <a:ext cx="422140" cy="42214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C3D2595-26D5-486A-BDA6-6F12544BC809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4052" y="4167915"/>
            <a:ext cx="326509" cy="480057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9CF652F2-8F2F-434C-A64D-7010BB973F08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0151" y="1841082"/>
            <a:ext cx="452894" cy="245009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4CD2344E-4EA2-482B-B3B8-47304789E5AB}"/>
              </a:ext>
            </a:extLst>
          </p:cNvPr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6478" y="3647174"/>
            <a:ext cx="537170" cy="177225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9091ACF4-5C1A-4F39-966E-59956A49A763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4266" y="3552274"/>
            <a:ext cx="769069" cy="235468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FD179A2C-AC53-4A38-81E2-73A8BBAE19B3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1454" y="1779921"/>
            <a:ext cx="525634" cy="376870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07AC6B83-ABC4-44FD-818A-AFB48CF9A53E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9194" y="3575098"/>
            <a:ext cx="529069" cy="396291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3243CB03-AE5D-4B9B-A1A9-773B9C8325E3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20" b="18761"/>
          <a:stretch/>
        </p:blipFill>
        <p:spPr>
          <a:xfrm>
            <a:off x="6949465" y="4384725"/>
            <a:ext cx="472090" cy="237079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5F55C0D0-D3BC-4570-9148-0C36B6F0C28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473" y="3552274"/>
            <a:ext cx="480057" cy="480057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44AB6A2B-D9B1-4B09-B175-9E121D9CA347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38" r="4433" b="23370"/>
          <a:stretch/>
        </p:blipFill>
        <p:spPr>
          <a:xfrm>
            <a:off x="6250523" y="4398949"/>
            <a:ext cx="472090" cy="237079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FE077E60-F6F3-44EE-B50F-9D7D4CA40E60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2183" y="2844030"/>
            <a:ext cx="493989" cy="493989"/>
          </a:xfrm>
          <a:prstGeom prst="rect">
            <a:avLst/>
          </a:prstGeom>
        </p:spPr>
      </p:pic>
      <p:pic>
        <p:nvPicPr>
          <p:cNvPr id="76" name="Picture 75">
            <a:extLst>
              <a:ext uri="{FF2B5EF4-FFF2-40B4-BE49-F238E27FC236}">
                <a16:creationId xmlns:a16="http://schemas.microsoft.com/office/drawing/2014/main" id="{5C20316E-B2EF-48CD-9F56-8C693ADB69ED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4216" y="1902819"/>
            <a:ext cx="797810" cy="151522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4F514499-7AEB-424A-A3E6-A62CFC5FB389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6448" y="2354315"/>
            <a:ext cx="548929" cy="329357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777C9CED-1499-40C6-ABED-1B49D9330A89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91031" y="2437561"/>
            <a:ext cx="842706" cy="120590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7F37B3E5-2649-4CE9-AA64-9D72C4BB6BC8}"/>
              </a:ext>
            </a:extLst>
          </p:cNvPr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7205" y="3008695"/>
            <a:ext cx="760212" cy="256044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7744052" y="1089700"/>
            <a:ext cx="1275029" cy="187573"/>
            <a:chOff x="7737362" y="1108977"/>
            <a:chExt cx="1275029" cy="187573"/>
          </a:xfrm>
        </p:grpSpPr>
        <p:sp>
          <p:nvSpPr>
            <p:cNvPr id="48" name="AutoShape 3">
              <a:extLst>
                <a:ext uri="{FF2B5EF4-FFF2-40B4-BE49-F238E27FC236}">
                  <a16:creationId xmlns:a16="http://schemas.microsoft.com/office/drawing/2014/main" id="{44415625-A638-4AE8-A0D8-2128D694597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737362" y="1108977"/>
              <a:ext cx="1275029" cy="1740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1905" tIns="4763" rIns="1905" bIns="0">
              <a:spAutoFit/>
            </a:bodyPr>
            <a:lstStyle>
              <a:lvl1pPr defTabSz="895350">
                <a:buSzPct val="120000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144463" indent="-142875" defTabSz="895350">
                <a:buSzPct val="120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295275" indent="-149225" defTabSz="895350"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431800" indent="-134938" defTabSz="895350">
                <a:buSzPct val="89000"/>
                <a:buChar char="•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582613" indent="-149225" defTabSz="895350"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10398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14970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19542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2411413" indent="-149225" defTabSz="895350" fontAlgn="base">
                <a:spcBef>
                  <a:spcPct val="0"/>
                </a:spcBef>
                <a:spcAft>
                  <a:spcPct val="0"/>
                </a:spcAft>
                <a:buSzPct val="75000"/>
                <a:buChar char="–"/>
                <a:defRPr sz="16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r"/>
              <a:r>
                <a:rPr lang="en-US" altLang="en-US" sz="1100" dirty="0"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NOT EXHAUSTIVE</a:t>
              </a:r>
            </a:p>
          </p:txBody>
        </p:sp>
        <p:cxnSp>
          <p:nvCxnSpPr>
            <p:cNvPr id="49" name="AutoShape 4">
              <a:extLst>
                <a:ext uri="{FF2B5EF4-FFF2-40B4-BE49-F238E27FC236}">
                  <a16:creationId xmlns:a16="http://schemas.microsoft.com/office/drawing/2014/main" id="{666DCE0F-8F98-4CC8-A845-7733D7D7454D}"/>
                </a:ext>
              </a:extLst>
            </p:cNvPr>
            <p:cNvCxnSpPr>
              <a:cxnSpLocks noChangeShapeType="1"/>
              <a:stCxn id="48" idx="2"/>
              <a:endCxn id="48" idx="0"/>
            </p:cNvCxnSpPr>
            <p:nvPr/>
          </p:nvCxnSpPr>
          <p:spPr bwMode="gray">
            <a:xfrm>
              <a:off x="7737362" y="1108977"/>
              <a:ext cx="1275029" cy="0"/>
            </a:xfrm>
            <a:prstGeom prst="straightConnector1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1" name="AutoShape 5">
              <a:extLst>
                <a:ext uri="{FF2B5EF4-FFF2-40B4-BE49-F238E27FC236}">
                  <a16:creationId xmlns:a16="http://schemas.microsoft.com/office/drawing/2014/main" id="{6D4E7CB1-C06C-4F02-885B-71E3B6B617B0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7737362" y="1296550"/>
              <a:ext cx="1275029" cy="0"/>
            </a:xfrm>
            <a:prstGeom prst="straightConnector1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13BB057-CF11-498A-9DDE-330D58E5D822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6306280" y="2289266"/>
            <a:ext cx="509072" cy="232476"/>
          </a:xfrm>
          <a:prstGeom prst="rect">
            <a:avLst/>
          </a:prstGeom>
        </p:spPr>
      </p:pic>
      <p:pic>
        <p:nvPicPr>
          <p:cNvPr id="53" name="Picture 52" descr="All On Logo.png">
            <a:extLst>
              <a:ext uri="{FF2B5EF4-FFF2-40B4-BE49-F238E27FC236}">
                <a16:creationId xmlns:a16="http://schemas.microsoft.com/office/drawing/2014/main" id="{5136B0C2-712A-4C56-B93F-7544FF6E1826}"/>
              </a:ext>
            </a:extLst>
          </p:cNvPr>
          <p:cNvPicPr>
            <a:picLocks noChangeAspect="1"/>
          </p:cNvPicPr>
          <p:nvPr/>
        </p:nvPicPr>
        <p:blipFill>
          <a:blip r:embed="rId31" cstate="print"/>
          <a:stretch>
            <a:fillRect/>
          </a:stretch>
        </p:blipFill>
        <p:spPr>
          <a:xfrm>
            <a:off x="4291683" y="4354326"/>
            <a:ext cx="747974" cy="37974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5C4A72B-AC46-40ED-B7FF-DF43319B63E2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6383489" y="2643273"/>
            <a:ext cx="707197" cy="32311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956CDC2-07C8-49F3-95A5-DF30680CBB68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6203973" y="3946728"/>
            <a:ext cx="1414395" cy="408467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45000DB-7135-46F5-B4AB-FF5C24518424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8207300" y="4040743"/>
            <a:ext cx="636642" cy="64963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5AAF77D-AE49-4ACE-A682-3E52C8DCF232}"/>
              </a:ext>
            </a:extLst>
          </p:cNvPr>
          <p:cNvSpPr>
            <a:spLocks/>
          </p:cNvSpPr>
          <p:nvPr/>
        </p:nvSpPr>
        <p:spPr bwMode="auto">
          <a:xfrm>
            <a:off x="428626" y="1578668"/>
            <a:ext cx="2779776" cy="45720"/>
          </a:xfrm>
          <a:prstGeom prst="rect">
            <a:avLst/>
          </a:prstGeom>
          <a:solidFill>
            <a:srgbClr val="8D3C3C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267A30B-B8F9-49FB-B36C-48FDADE654CC}"/>
              </a:ext>
            </a:extLst>
          </p:cNvPr>
          <p:cNvSpPr/>
          <p:nvPr/>
        </p:nvSpPr>
        <p:spPr bwMode="auto">
          <a:xfrm>
            <a:off x="3275020" y="1578668"/>
            <a:ext cx="2781300" cy="45720"/>
          </a:xfrm>
          <a:prstGeom prst="rect">
            <a:avLst/>
          </a:prstGeom>
          <a:solidFill>
            <a:srgbClr val="E3701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AD416F-E896-4F8D-BA0A-A57C1DF04BA3}"/>
              </a:ext>
            </a:extLst>
          </p:cNvPr>
          <p:cNvSpPr/>
          <p:nvPr/>
        </p:nvSpPr>
        <p:spPr bwMode="auto">
          <a:xfrm>
            <a:off x="6121414" y="1578668"/>
            <a:ext cx="2781300" cy="45720"/>
          </a:xfrm>
          <a:prstGeom prst="rect">
            <a:avLst/>
          </a:prstGeom>
          <a:solidFill>
            <a:srgbClr val="55A6B0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A6C40956-6601-490A-B5BF-C7EF69AC22C8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7306" y="2975283"/>
            <a:ext cx="980192" cy="29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928970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  <p:bldP spid="11" grpId="0"/>
      <p:bldP spid="12" grpId="0" animBg="1"/>
      <p:bldP spid="13" grpId="0" animBg="1"/>
      <p:bldP spid="14" grpId="0" animBg="1"/>
      <p:bldP spid="15" grpId="0"/>
      <p:bldP spid="37" grpId="0"/>
      <p:bldP spid="6" grpId="0" animBg="1"/>
      <p:bldP spid="7" grpId="0" animBg="1"/>
      <p:bldP spid="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89952" y="2227383"/>
            <a:ext cx="3581399" cy="5047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3000"/>
              </a:lnSpc>
              <a:spcBef>
                <a:spcPts val="0"/>
              </a:spcBef>
              <a:spcAft>
                <a:spcPts val="6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What </a:t>
            </a:r>
            <a:r>
              <a:rPr lang="en-GB" sz="30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re we doing</a:t>
            </a:r>
            <a:r>
              <a:rPr kumimoji="0" lang="en-GB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035615543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621" y="39773"/>
            <a:ext cx="7693439" cy="78950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All On (funded by Shell) has a dynamic approach that combines investment and market development activities with strategic partners to unlock access to energy in Nigeria</a:t>
            </a:r>
          </a:p>
        </p:txBody>
      </p:sp>
      <p:sp>
        <p:nvSpPr>
          <p:cNvPr id="8" name="Plus 7"/>
          <p:cNvSpPr/>
          <p:nvPr/>
        </p:nvSpPr>
        <p:spPr>
          <a:xfrm>
            <a:off x="3910312" y="2737297"/>
            <a:ext cx="795634" cy="795634"/>
          </a:xfrm>
          <a:prstGeom prst="mathPlus">
            <a:avLst>
              <a:gd name="adj1" fmla="val 7295"/>
            </a:avLst>
          </a:prstGeom>
          <a:solidFill>
            <a:srgbClr val="2480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Equal 16"/>
          <p:cNvSpPr/>
          <p:nvPr/>
        </p:nvSpPr>
        <p:spPr>
          <a:xfrm>
            <a:off x="5932571" y="2755250"/>
            <a:ext cx="688856" cy="759728"/>
          </a:xfrm>
          <a:prstGeom prst="mathEqual">
            <a:avLst>
              <a:gd name="adj1" fmla="val 7944"/>
              <a:gd name="adj2" fmla="val 11760"/>
            </a:avLst>
          </a:prstGeom>
          <a:solidFill>
            <a:srgbClr val="2480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238725" y="2748620"/>
            <a:ext cx="3611408" cy="981441"/>
            <a:chOff x="238725" y="2702280"/>
            <a:chExt cx="3611408" cy="981441"/>
          </a:xfrm>
        </p:grpSpPr>
        <p:sp>
          <p:nvSpPr>
            <p:cNvPr id="10" name="TextBox 9"/>
            <p:cNvSpPr txBox="1"/>
            <p:nvPr/>
          </p:nvSpPr>
          <p:spPr>
            <a:xfrm>
              <a:off x="1333414" y="2702280"/>
              <a:ext cx="2516719" cy="98144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wrap="square" lIns="144000" tIns="108000" rIns="144000" bIns="0" rtlCol="0">
              <a:noAutofit/>
            </a:bodyPr>
            <a:lstStyle/>
            <a:p>
              <a:pPr marL="0" marR="0" lvl="1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Supporting &amp; investing in enabling finance facilities that leverage additional capital for </a:t>
              </a:r>
              <a:r>
                <a:rPr kumimoji="0" lang="en-GB" sz="1200" b="0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offgrid</a:t>
              </a: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 companies</a:t>
              </a: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238725" y="2702280"/>
              <a:ext cx="1053991" cy="981441"/>
              <a:chOff x="238725" y="2583408"/>
              <a:chExt cx="1053991" cy="981441"/>
            </a:xfrm>
          </p:grpSpPr>
          <p:sp>
            <p:nvSpPr>
              <p:cNvPr id="13" name="TextBox 12"/>
              <p:cNvSpPr txBox="1"/>
              <p:nvPr/>
            </p:nvSpPr>
            <p:spPr>
              <a:xfrm>
                <a:off x="238725" y="2583408"/>
                <a:ext cx="1053991" cy="981441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txBody>
              <a:bodyPr wrap="square" lIns="108000" tIns="72000" rIns="108000" bIns="0" rtlCol="0">
                <a:noAutofit/>
              </a:bodyPr>
              <a:lstStyle/>
              <a:p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Enabling Finance</a:t>
                </a:r>
              </a:p>
            </p:txBody>
          </p:sp>
          <p:pic>
            <p:nvPicPr>
              <p:cNvPr id="19" name="Picture 18" descr="Innovation Fund Icon.png"/>
              <p:cNvPicPr>
                <a:picLocks noChangeAspect="1"/>
              </p:cNvPicPr>
              <p:nvPr/>
            </p:nvPicPr>
            <p:blipFill>
              <a:blip r:embed="rId4" cstate="print"/>
              <a:srcRect l="41723" t="3077" r="49680" b="76524"/>
              <a:stretch>
                <a:fillRect/>
              </a:stretch>
            </p:blipFill>
            <p:spPr>
              <a:xfrm>
                <a:off x="608389" y="3003660"/>
                <a:ext cx="390529" cy="521677"/>
              </a:xfrm>
              <a:prstGeom prst="rect">
                <a:avLst/>
              </a:prstGeom>
            </p:spPr>
          </p:pic>
        </p:grpSp>
      </p:grpSp>
      <p:sp>
        <p:nvSpPr>
          <p:cNvPr id="9" name="TextBox 8"/>
          <p:cNvSpPr txBox="1"/>
          <p:nvPr/>
        </p:nvSpPr>
        <p:spPr>
          <a:xfrm>
            <a:off x="1333414" y="1639266"/>
            <a:ext cx="2516719" cy="981441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txBody>
          <a:bodyPr wrap="square" lIns="144000" tIns="108000" rIns="144000" bIns="0" rtlCol="0">
            <a:noAutofit/>
          </a:bodyPr>
          <a:lstStyle/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Supporting and investing debt &amp; equity directly in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existing energy firms to help grow and achieve scale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38725" y="1639266"/>
            <a:ext cx="1053991" cy="981441"/>
          </a:xfrm>
          <a:prstGeom prst="rect">
            <a:avLst/>
          </a:prstGeom>
          <a:solidFill>
            <a:srgbClr val="8D3C3C"/>
          </a:solidFill>
          <a:ln>
            <a:noFill/>
          </a:ln>
        </p:spPr>
        <p:txBody>
          <a:bodyPr wrap="square" lIns="108000" tIns="72000" rIns="108000" bIns="0" rtlCol="0">
            <a:noAutofit/>
          </a:bodyPr>
          <a:lstStyle/>
          <a:p>
            <a:pPr marL="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Impact Investing 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602055" y="1985781"/>
            <a:ext cx="312032" cy="566217"/>
            <a:chOff x="602055" y="1742923"/>
            <a:chExt cx="312032" cy="566217"/>
          </a:xfrm>
        </p:grpSpPr>
        <p:grpSp>
          <p:nvGrpSpPr>
            <p:cNvPr id="20" name="Group 27"/>
            <p:cNvGrpSpPr>
              <a:grpSpLocks noChangeAspect="1"/>
            </p:cNvGrpSpPr>
            <p:nvPr/>
          </p:nvGrpSpPr>
          <p:grpSpPr bwMode="auto">
            <a:xfrm>
              <a:off x="623402" y="1849810"/>
              <a:ext cx="256058" cy="459330"/>
              <a:chOff x="4243" y="3502"/>
              <a:chExt cx="456" cy="818"/>
            </a:xfrm>
            <a:solidFill>
              <a:schemeClr val="bg1"/>
            </a:solidFill>
          </p:grpSpPr>
          <p:sp>
            <p:nvSpPr>
              <p:cNvPr id="21" name="Freeform 30"/>
              <p:cNvSpPr>
                <a:spLocks/>
              </p:cNvSpPr>
              <p:nvPr/>
            </p:nvSpPr>
            <p:spPr bwMode="auto">
              <a:xfrm>
                <a:off x="4378" y="4134"/>
                <a:ext cx="186" cy="34"/>
              </a:xfrm>
              <a:custGeom>
                <a:avLst/>
                <a:gdLst/>
                <a:ahLst/>
                <a:cxnLst>
                  <a:cxn ang="0">
                    <a:pos x="42" y="8"/>
                  </a:cxn>
                  <a:cxn ang="0">
                    <a:pos x="44" y="5"/>
                  </a:cxn>
                  <a:cxn ang="0">
                    <a:pos x="44" y="2"/>
                  </a:cxn>
                  <a:cxn ang="0">
                    <a:pos x="42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3" y="8"/>
                  </a:cxn>
                  <a:cxn ang="0">
                    <a:pos x="42" y="8"/>
                  </a:cxn>
                </a:cxnLst>
                <a:rect l="0" t="0" r="r" b="b"/>
                <a:pathLst>
                  <a:path w="44" h="8">
                    <a:moveTo>
                      <a:pt x="42" y="8"/>
                    </a:moveTo>
                    <a:cubicBezTo>
                      <a:pt x="43" y="8"/>
                      <a:pt x="44" y="7"/>
                      <a:pt x="44" y="5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7"/>
                      <a:pt x="1" y="8"/>
                      <a:pt x="3" y="8"/>
                    </a:cubicBezTo>
                    <a:lnTo>
                      <a:pt x="4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2" name="Freeform 31"/>
              <p:cNvSpPr>
                <a:spLocks/>
              </p:cNvSpPr>
              <p:nvPr/>
            </p:nvSpPr>
            <p:spPr bwMode="auto">
              <a:xfrm>
                <a:off x="4378" y="4185"/>
                <a:ext cx="186" cy="34"/>
              </a:xfrm>
              <a:custGeom>
                <a:avLst/>
                <a:gdLst/>
                <a:ahLst/>
                <a:cxnLst>
                  <a:cxn ang="0">
                    <a:pos x="42" y="8"/>
                  </a:cxn>
                  <a:cxn ang="0">
                    <a:pos x="44" y="5"/>
                  </a:cxn>
                  <a:cxn ang="0">
                    <a:pos x="44" y="2"/>
                  </a:cxn>
                  <a:cxn ang="0">
                    <a:pos x="42" y="0"/>
                  </a:cxn>
                  <a:cxn ang="0">
                    <a:pos x="3" y="0"/>
                  </a:cxn>
                  <a:cxn ang="0">
                    <a:pos x="0" y="2"/>
                  </a:cxn>
                  <a:cxn ang="0">
                    <a:pos x="0" y="5"/>
                  </a:cxn>
                  <a:cxn ang="0">
                    <a:pos x="3" y="8"/>
                  </a:cxn>
                  <a:cxn ang="0">
                    <a:pos x="42" y="8"/>
                  </a:cxn>
                </a:cxnLst>
                <a:rect l="0" t="0" r="r" b="b"/>
                <a:pathLst>
                  <a:path w="44" h="8">
                    <a:moveTo>
                      <a:pt x="42" y="8"/>
                    </a:moveTo>
                    <a:cubicBezTo>
                      <a:pt x="43" y="8"/>
                      <a:pt x="44" y="6"/>
                      <a:pt x="44" y="5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4" y="1"/>
                      <a:pt x="43" y="0"/>
                      <a:pt x="4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6"/>
                      <a:pt x="1" y="8"/>
                      <a:pt x="3" y="8"/>
                    </a:cubicBezTo>
                    <a:lnTo>
                      <a:pt x="42" y="8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3" name="Freeform 32"/>
              <p:cNvSpPr>
                <a:spLocks/>
              </p:cNvSpPr>
              <p:nvPr/>
            </p:nvSpPr>
            <p:spPr bwMode="auto">
              <a:xfrm>
                <a:off x="4378" y="4231"/>
                <a:ext cx="186" cy="38"/>
              </a:xfrm>
              <a:custGeom>
                <a:avLst/>
                <a:gdLst/>
                <a:ahLst/>
                <a:cxnLst>
                  <a:cxn ang="0">
                    <a:pos x="42" y="9"/>
                  </a:cxn>
                  <a:cxn ang="0">
                    <a:pos x="44" y="6"/>
                  </a:cxn>
                  <a:cxn ang="0">
                    <a:pos x="44" y="3"/>
                  </a:cxn>
                  <a:cxn ang="0">
                    <a:pos x="42" y="0"/>
                  </a:cxn>
                  <a:cxn ang="0">
                    <a:pos x="3" y="0"/>
                  </a:cxn>
                  <a:cxn ang="0">
                    <a:pos x="0" y="3"/>
                  </a:cxn>
                  <a:cxn ang="0">
                    <a:pos x="0" y="6"/>
                  </a:cxn>
                  <a:cxn ang="0">
                    <a:pos x="3" y="9"/>
                  </a:cxn>
                  <a:cxn ang="0">
                    <a:pos x="42" y="9"/>
                  </a:cxn>
                </a:cxnLst>
                <a:rect l="0" t="0" r="r" b="b"/>
                <a:pathLst>
                  <a:path w="44" h="9">
                    <a:moveTo>
                      <a:pt x="42" y="9"/>
                    </a:moveTo>
                    <a:cubicBezTo>
                      <a:pt x="43" y="9"/>
                      <a:pt x="44" y="7"/>
                      <a:pt x="44" y="6"/>
                    </a:cubicBezTo>
                    <a:cubicBezTo>
                      <a:pt x="44" y="3"/>
                      <a:pt x="44" y="3"/>
                      <a:pt x="44" y="3"/>
                    </a:cubicBezTo>
                    <a:cubicBezTo>
                      <a:pt x="44" y="2"/>
                      <a:pt x="43" y="0"/>
                      <a:pt x="42" y="0"/>
                    </a:cubicBezTo>
                    <a:cubicBezTo>
                      <a:pt x="3" y="0"/>
                      <a:pt x="3" y="0"/>
                      <a:pt x="3" y="0"/>
                    </a:cubicBezTo>
                    <a:cubicBezTo>
                      <a:pt x="1" y="0"/>
                      <a:pt x="0" y="2"/>
                      <a:pt x="0" y="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7"/>
                      <a:pt x="1" y="9"/>
                      <a:pt x="3" y="9"/>
                    </a:cubicBezTo>
                    <a:lnTo>
                      <a:pt x="42" y="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4" name="Freeform 33"/>
              <p:cNvSpPr>
                <a:spLocks/>
              </p:cNvSpPr>
              <p:nvPr/>
            </p:nvSpPr>
            <p:spPr bwMode="auto">
              <a:xfrm>
                <a:off x="4416" y="4286"/>
                <a:ext cx="110" cy="34"/>
              </a:xfrm>
              <a:custGeom>
                <a:avLst/>
                <a:gdLst/>
                <a:ahLst/>
                <a:cxnLst>
                  <a:cxn ang="0">
                    <a:pos x="26" y="0"/>
                  </a:cxn>
                  <a:cxn ang="0">
                    <a:pos x="13" y="8"/>
                  </a:cxn>
                  <a:cxn ang="0">
                    <a:pos x="0" y="0"/>
                  </a:cxn>
                  <a:cxn ang="0">
                    <a:pos x="26" y="0"/>
                  </a:cxn>
                </a:cxnLst>
                <a:rect l="0" t="0" r="r" b="b"/>
                <a:pathLst>
                  <a:path w="26" h="8">
                    <a:moveTo>
                      <a:pt x="26" y="0"/>
                    </a:moveTo>
                    <a:cubicBezTo>
                      <a:pt x="24" y="4"/>
                      <a:pt x="19" y="8"/>
                      <a:pt x="13" y="8"/>
                    </a:cubicBezTo>
                    <a:cubicBezTo>
                      <a:pt x="7" y="8"/>
                      <a:pt x="3" y="4"/>
                      <a:pt x="0" y="0"/>
                    </a:cubicBezTo>
                    <a:cubicBezTo>
                      <a:pt x="26" y="0"/>
                      <a:pt x="26" y="0"/>
                      <a:pt x="2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5" name="Freeform 34"/>
              <p:cNvSpPr>
                <a:spLocks/>
              </p:cNvSpPr>
              <p:nvPr/>
            </p:nvSpPr>
            <p:spPr bwMode="auto">
              <a:xfrm>
                <a:off x="4243" y="3502"/>
                <a:ext cx="456" cy="611"/>
              </a:xfrm>
              <a:custGeom>
                <a:avLst/>
                <a:gdLst/>
                <a:ahLst/>
                <a:cxnLst>
                  <a:cxn ang="0">
                    <a:pos x="54" y="0"/>
                  </a:cxn>
                  <a:cxn ang="0">
                    <a:pos x="0" y="54"/>
                  </a:cxn>
                  <a:cxn ang="0">
                    <a:pos x="7" y="81"/>
                  </a:cxn>
                  <a:cxn ang="0">
                    <a:pos x="26" y="132"/>
                  </a:cxn>
                  <a:cxn ang="0">
                    <a:pos x="39" y="145"/>
                  </a:cxn>
                  <a:cxn ang="0">
                    <a:pos x="54" y="145"/>
                  </a:cxn>
                  <a:cxn ang="0">
                    <a:pos x="69" y="145"/>
                  </a:cxn>
                  <a:cxn ang="0">
                    <a:pos x="82" y="132"/>
                  </a:cxn>
                  <a:cxn ang="0">
                    <a:pos x="101" y="81"/>
                  </a:cxn>
                  <a:cxn ang="0">
                    <a:pos x="108" y="54"/>
                  </a:cxn>
                  <a:cxn ang="0">
                    <a:pos x="54" y="0"/>
                  </a:cxn>
                </a:cxnLst>
                <a:rect l="0" t="0" r="r" b="b"/>
                <a:pathLst>
                  <a:path w="108" h="145">
                    <a:moveTo>
                      <a:pt x="54" y="0"/>
                    </a:moveTo>
                    <a:cubicBezTo>
                      <a:pt x="24" y="0"/>
                      <a:pt x="0" y="24"/>
                      <a:pt x="0" y="54"/>
                    </a:cubicBezTo>
                    <a:cubicBezTo>
                      <a:pt x="0" y="64"/>
                      <a:pt x="3" y="73"/>
                      <a:pt x="7" y="81"/>
                    </a:cubicBezTo>
                    <a:cubicBezTo>
                      <a:pt x="20" y="105"/>
                      <a:pt x="24" y="119"/>
                      <a:pt x="26" y="132"/>
                    </a:cubicBezTo>
                    <a:cubicBezTo>
                      <a:pt x="28" y="143"/>
                      <a:pt x="30" y="145"/>
                      <a:pt x="39" y="145"/>
                    </a:cubicBezTo>
                    <a:cubicBezTo>
                      <a:pt x="42" y="145"/>
                      <a:pt x="48" y="145"/>
                      <a:pt x="54" y="145"/>
                    </a:cubicBezTo>
                    <a:cubicBezTo>
                      <a:pt x="60" y="145"/>
                      <a:pt x="66" y="145"/>
                      <a:pt x="69" y="145"/>
                    </a:cubicBezTo>
                    <a:cubicBezTo>
                      <a:pt x="78" y="145"/>
                      <a:pt x="80" y="143"/>
                      <a:pt x="82" y="132"/>
                    </a:cubicBezTo>
                    <a:cubicBezTo>
                      <a:pt x="84" y="119"/>
                      <a:pt x="88" y="105"/>
                      <a:pt x="101" y="81"/>
                    </a:cubicBezTo>
                    <a:cubicBezTo>
                      <a:pt x="106" y="73"/>
                      <a:pt x="108" y="64"/>
                      <a:pt x="108" y="54"/>
                    </a:cubicBezTo>
                    <a:cubicBezTo>
                      <a:pt x="108" y="24"/>
                      <a:pt x="84" y="0"/>
                      <a:pt x="54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26" name="Rectangle 25"/>
            <p:cNvSpPr/>
            <p:nvPr>
              <p:custDataLst>
                <p:tags r:id="rId2"/>
              </p:custDataLst>
            </p:nvPr>
          </p:nvSpPr>
          <p:spPr bwMode="auto">
            <a:xfrm>
              <a:off x="602055" y="1742923"/>
              <a:ext cx="312032" cy="484086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139700" rIns="72000" bIns="13970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8D3C3C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  <a:sym typeface="+mn-lt"/>
                </a:rPr>
                <a:t>$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238725" y="3857973"/>
            <a:ext cx="3611408" cy="981441"/>
            <a:chOff x="238725" y="3857973"/>
            <a:chExt cx="3611408" cy="981441"/>
          </a:xfrm>
        </p:grpSpPr>
        <p:sp>
          <p:nvSpPr>
            <p:cNvPr id="11" name="TextBox 10"/>
            <p:cNvSpPr txBox="1"/>
            <p:nvPr/>
          </p:nvSpPr>
          <p:spPr>
            <a:xfrm>
              <a:off x="1333414" y="3857973"/>
              <a:ext cx="2516719" cy="981441"/>
            </a:xfrm>
            <a:prstGeom prst="rect">
              <a:avLst/>
            </a:prstGeom>
            <a:solidFill>
              <a:srgbClr val="55A6B0"/>
            </a:solidFill>
            <a:ln>
              <a:noFill/>
            </a:ln>
          </p:spPr>
          <p:txBody>
            <a:bodyPr wrap="square" lIns="144000" tIns="108000" rIns="144000" bIns="0" rtlCol="0">
              <a:noAutofit/>
            </a:bodyPr>
            <a:lstStyle/>
            <a:p>
              <a:pPr marL="0" marR="0" lvl="1" indent="0" algn="l" defTabSz="9143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</a:rPr>
                <a:t>Facilitating an enabling environment to accelerate scaling of the off grid energy sector</a:t>
              </a: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238725" y="3857973"/>
              <a:ext cx="1053991" cy="981441"/>
              <a:chOff x="238725" y="3739101"/>
              <a:chExt cx="1053991" cy="981441"/>
            </a:xfrm>
          </p:grpSpPr>
          <p:sp>
            <p:nvSpPr>
              <p:cNvPr id="14" name="TextBox 13"/>
              <p:cNvSpPr txBox="1"/>
              <p:nvPr/>
            </p:nvSpPr>
            <p:spPr>
              <a:xfrm>
                <a:off x="238725" y="3739101"/>
                <a:ext cx="1053991" cy="981441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txBody>
              <a:bodyPr wrap="square" lIns="108000" tIns="72000" rIns="108000" bIns="0" rtlCol="0">
                <a:noAutofit/>
              </a:bodyPr>
              <a:lstStyle/>
              <a:p>
                <a:pPr marL="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Verdana" pitchFamily="34" charset="0"/>
                    <a:ea typeface="Verdana" pitchFamily="34" charset="0"/>
                    <a:cs typeface="Verdana" pitchFamily="34" charset="0"/>
                  </a:rPr>
                  <a:t>Enabling Environment        </a:t>
                </a:r>
              </a:p>
            </p:txBody>
          </p:sp>
          <p:grpSp>
            <p:nvGrpSpPr>
              <p:cNvPr id="27" name="Group 29"/>
              <p:cNvGrpSpPr/>
              <p:nvPr/>
            </p:nvGrpSpPr>
            <p:grpSpPr>
              <a:xfrm>
                <a:off x="541291" y="4138381"/>
                <a:ext cx="433561" cy="484444"/>
                <a:chOff x="-1040769" y="3501609"/>
                <a:chExt cx="1206171" cy="1347730"/>
              </a:xfrm>
              <a:solidFill>
                <a:schemeClr val="bg1"/>
              </a:solidFill>
            </p:grpSpPr>
            <p:sp>
              <p:nvSpPr>
                <p:cNvPr id="28" name="Freeform 97"/>
                <p:cNvSpPr>
                  <a:spLocks noEditPoints="1"/>
                </p:cNvSpPr>
                <p:nvPr/>
              </p:nvSpPr>
              <p:spPr bwMode="auto">
                <a:xfrm>
                  <a:off x="-1040769" y="3501609"/>
                  <a:ext cx="1206171" cy="1347730"/>
                </a:xfrm>
                <a:custGeom>
                  <a:avLst/>
                  <a:gdLst>
                    <a:gd name="T0" fmla="*/ 700 w 700"/>
                    <a:gd name="T1" fmla="*/ 193 h 782"/>
                    <a:gd name="T2" fmla="*/ 648 w 700"/>
                    <a:gd name="T3" fmla="*/ 152 h 782"/>
                    <a:gd name="T4" fmla="*/ 350 w 700"/>
                    <a:gd name="T5" fmla="*/ 0 h 782"/>
                    <a:gd name="T6" fmla="*/ 52 w 700"/>
                    <a:gd name="T7" fmla="*/ 152 h 782"/>
                    <a:gd name="T8" fmla="*/ 0 w 700"/>
                    <a:gd name="T9" fmla="*/ 193 h 782"/>
                    <a:gd name="T10" fmla="*/ 0 w 700"/>
                    <a:gd name="T11" fmla="*/ 590 h 782"/>
                    <a:gd name="T12" fmla="*/ 52 w 700"/>
                    <a:gd name="T13" fmla="*/ 631 h 782"/>
                    <a:gd name="T14" fmla="*/ 350 w 700"/>
                    <a:gd name="T15" fmla="*/ 782 h 782"/>
                    <a:gd name="T16" fmla="*/ 648 w 700"/>
                    <a:gd name="T17" fmla="*/ 631 h 782"/>
                    <a:gd name="T18" fmla="*/ 700 w 700"/>
                    <a:gd name="T19" fmla="*/ 590 h 782"/>
                    <a:gd name="T20" fmla="*/ 648 w 700"/>
                    <a:gd name="T21" fmla="*/ 188 h 782"/>
                    <a:gd name="T22" fmla="*/ 496 w 700"/>
                    <a:gd name="T23" fmla="*/ 368 h 782"/>
                    <a:gd name="T24" fmla="*/ 467 w 700"/>
                    <a:gd name="T25" fmla="*/ 251 h 782"/>
                    <a:gd name="T26" fmla="*/ 415 w 700"/>
                    <a:gd name="T27" fmla="*/ 426 h 782"/>
                    <a:gd name="T28" fmla="*/ 285 w 700"/>
                    <a:gd name="T29" fmla="*/ 426 h 782"/>
                    <a:gd name="T30" fmla="*/ 262 w 700"/>
                    <a:gd name="T31" fmla="*/ 391 h 782"/>
                    <a:gd name="T32" fmla="*/ 285 w 700"/>
                    <a:gd name="T33" fmla="*/ 356 h 782"/>
                    <a:gd name="T34" fmla="*/ 415 w 700"/>
                    <a:gd name="T35" fmla="*/ 356 h 782"/>
                    <a:gd name="T36" fmla="*/ 438 w 700"/>
                    <a:gd name="T37" fmla="*/ 391 h 782"/>
                    <a:gd name="T38" fmla="*/ 415 w 700"/>
                    <a:gd name="T39" fmla="*/ 426 h 782"/>
                    <a:gd name="T40" fmla="*/ 432 w 700"/>
                    <a:gd name="T41" fmla="*/ 514 h 782"/>
                    <a:gd name="T42" fmla="*/ 435 w 700"/>
                    <a:gd name="T43" fmla="*/ 457 h 782"/>
                    <a:gd name="T44" fmla="*/ 314 w 700"/>
                    <a:gd name="T45" fmla="*/ 488 h 782"/>
                    <a:gd name="T46" fmla="*/ 264 w 700"/>
                    <a:gd name="T47" fmla="*/ 456 h 782"/>
                    <a:gd name="T48" fmla="*/ 314 w 700"/>
                    <a:gd name="T49" fmla="*/ 488 h 782"/>
                    <a:gd name="T50" fmla="*/ 268 w 700"/>
                    <a:gd name="T51" fmla="*/ 269 h 782"/>
                    <a:gd name="T52" fmla="*/ 265 w 700"/>
                    <a:gd name="T53" fmla="*/ 326 h 782"/>
                    <a:gd name="T54" fmla="*/ 386 w 700"/>
                    <a:gd name="T55" fmla="*/ 294 h 782"/>
                    <a:gd name="T56" fmla="*/ 436 w 700"/>
                    <a:gd name="T57" fmla="*/ 326 h 782"/>
                    <a:gd name="T58" fmla="*/ 386 w 700"/>
                    <a:gd name="T59" fmla="*/ 294 h 782"/>
                    <a:gd name="T60" fmla="*/ 427 w 700"/>
                    <a:gd name="T61" fmla="*/ 230 h 782"/>
                    <a:gd name="T62" fmla="*/ 273 w 700"/>
                    <a:gd name="T63" fmla="*/ 230 h 782"/>
                    <a:gd name="T64" fmla="*/ 37 w 700"/>
                    <a:gd name="T65" fmla="*/ 191 h 782"/>
                    <a:gd name="T66" fmla="*/ 233 w 700"/>
                    <a:gd name="T67" fmla="*/ 251 h 782"/>
                    <a:gd name="T68" fmla="*/ 204 w 700"/>
                    <a:gd name="T69" fmla="*/ 368 h 782"/>
                    <a:gd name="T70" fmla="*/ 52 w 700"/>
                    <a:gd name="T71" fmla="*/ 594 h 782"/>
                    <a:gd name="T72" fmla="*/ 204 w 700"/>
                    <a:gd name="T73" fmla="*/ 414 h 782"/>
                    <a:gd name="T74" fmla="*/ 233 w 700"/>
                    <a:gd name="T75" fmla="*/ 532 h 782"/>
                    <a:gd name="T76" fmla="*/ 350 w 700"/>
                    <a:gd name="T77" fmla="*/ 745 h 782"/>
                    <a:gd name="T78" fmla="*/ 350 w 700"/>
                    <a:gd name="T79" fmla="*/ 510 h 782"/>
                    <a:gd name="T80" fmla="*/ 350 w 700"/>
                    <a:gd name="T81" fmla="*/ 745 h 782"/>
                    <a:gd name="T82" fmla="*/ 648 w 700"/>
                    <a:gd name="T83" fmla="*/ 594 h 782"/>
                    <a:gd name="T84" fmla="*/ 474 w 700"/>
                    <a:gd name="T85" fmla="*/ 430 h 782"/>
                    <a:gd name="T86" fmla="*/ 663 w 700"/>
                    <a:gd name="T87" fmla="*/ 591 h 7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700" h="782">
                      <a:moveTo>
                        <a:pt x="527" y="391"/>
                      </a:moveTo>
                      <a:cubicBezTo>
                        <a:pt x="619" y="320"/>
                        <a:pt x="700" y="241"/>
                        <a:pt x="700" y="193"/>
                      </a:cubicBezTo>
                      <a:cubicBezTo>
                        <a:pt x="700" y="179"/>
                        <a:pt x="694" y="168"/>
                        <a:pt x="684" y="160"/>
                      </a:cubicBezTo>
                      <a:cubicBezTo>
                        <a:pt x="675" y="154"/>
                        <a:pt x="663" y="152"/>
                        <a:pt x="648" y="152"/>
                      </a:cubicBezTo>
                      <a:cubicBezTo>
                        <a:pt x="608" y="152"/>
                        <a:pt x="540" y="174"/>
                        <a:pt x="462" y="212"/>
                      </a:cubicBezTo>
                      <a:cubicBezTo>
                        <a:pt x="444" y="92"/>
                        <a:pt x="406" y="0"/>
                        <a:pt x="350" y="0"/>
                      </a:cubicBezTo>
                      <a:cubicBezTo>
                        <a:pt x="294" y="0"/>
                        <a:pt x="256" y="92"/>
                        <a:pt x="238" y="212"/>
                      </a:cubicBezTo>
                      <a:cubicBezTo>
                        <a:pt x="160" y="174"/>
                        <a:pt x="92" y="152"/>
                        <a:pt x="52" y="152"/>
                      </a:cubicBezTo>
                      <a:cubicBezTo>
                        <a:pt x="37" y="152"/>
                        <a:pt x="25" y="154"/>
                        <a:pt x="16" y="160"/>
                      </a:cubicBezTo>
                      <a:cubicBezTo>
                        <a:pt x="6" y="168"/>
                        <a:pt x="0" y="179"/>
                        <a:pt x="0" y="193"/>
                      </a:cubicBezTo>
                      <a:cubicBezTo>
                        <a:pt x="0" y="241"/>
                        <a:pt x="81" y="320"/>
                        <a:pt x="173" y="391"/>
                      </a:cubicBezTo>
                      <a:cubicBezTo>
                        <a:pt x="81" y="462"/>
                        <a:pt x="0" y="541"/>
                        <a:pt x="0" y="590"/>
                      </a:cubicBezTo>
                      <a:cubicBezTo>
                        <a:pt x="0" y="603"/>
                        <a:pt x="6" y="615"/>
                        <a:pt x="16" y="622"/>
                      </a:cubicBezTo>
                      <a:cubicBezTo>
                        <a:pt x="25" y="628"/>
                        <a:pt x="37" y="631"/>
                        <a:pt x="52" y="631"/>
                      </a:cubicBezTo>
                      <a:cubicBezTo>
                        <a:pt x="92" y="631"/>
                        <a:pt x="160" y="608"/>
                        <a:pt x="238" y="570"/>
                      </a:cubicBezTo>
                      <a:cubicBezTo>
                        <a:pt x="256" y="690"/>
                        <a:pt x="294" y="782"/>
                        <a:pt x="350" y="782"/>
                      </a:cubicBezTo>
                      <a:cubicBezTo>
                        <a:pt x="406" y="782"/>
                        <a:pt x="444" y="690"/>
                        <a:pt x="462" y="570"/>
                      </a:cubicBezTo>
                      <a:cubicBezTo>
                        <a:pt x="540" y="608"/>
                        <a:pt x="608" y="631"/>
                        <a:pt x="648" y="631"/>
                      </a:cubicBezTo>
                      <a:cubicBezTo>
                        <a:pt x="663" y="631"/>
                        <a:pt x="675" y="628"/>
                        <a:pt x="684" y="622"/>
                      </a:cubicBezTo>
                      <a:cubicBezTo>
                        <a:pt x="694" y="615"/>
                        <a:pt x="700" y="603"/>
                        <a:pt x="700" y="590"/>
                      </a:cubicBezTo>
                      <a:cubicBezTo>
                        <a:pt x="700" y="541"/>
                        <a:pt x="619" y="462"/>
                        <a:pt x="527" y="391"/>
                      </a:cubicBezTo>
                      <a:close/>
                      <a:moveTo>
                        <a:pt x="648" y="188"/>
                      </a:moveTo>
                      <a:cubicBezTo>
                        <a:pt x="658" y="188"/>
                        <a:pt x="662" y="190"/>
                        <a:pt x="663" y="191"/>
                      </a:cubicBezTo>
                      <a:cubicBezTo>
                        <a:pt x="669" y="205"/>
                        <a:pt x="625" y="271"/>
                        <a:pt x="496" y="368"/>
                      </a:cubicBezTo>
                      <a:cubicBezTo>
                        <a:pt x="489" y="363"/>
                        <a:pt x="481" y="358"/>
                        <a:pt x="474" y="352"/>
                      </a:cubicBezTo>
                      <a:cubicBezTo>
                        <a:pt x="473" y="318"/>
                        <a:pt x="471" y="283"/>
                        <a:pt x="467" y="251"/>
                      </a:cubicBezTo>
                      <a:cubicBezTo>
                        <a:pt x="550" y="210"/>
                        <a:pt x="615" y="188"/>
                        <a:pt x="648" y="188"/>
                      </a:cubicBezTo>
                      <a:close/>
                      <a:moveTo>
                        <a:pt x="415" y="426"/>
                      </a:moveTo>
                      <a:cubicBezTo>
                        <a:pt x="393" y="441"/>
                        <a:pt x="371" y="454"/>
                        <a:pt x="350" y="467"/>
                      </a:cubicBezTo>
                      <a:cubicBezTo>
                        <a:pt x="329" y="454"/>
                        <a:pt x="307" y="441"/>
                        <a:pt x="285" y="426"/>
                      </a:cubicBezTo>
                      <a:cubicBezTo>
                        <a:pt x="277" y="421"/>
                        <a:pt x="270" y="416"/>
                        <a:pt x="263" y="410"/>
                      </a:cubicBezTo>
                      <a:cubicBezTo>
                        <a:pt x="262" y="404"/>
                        <a:pt x="262" y="398"/>
                        <a:pt x="262" y="391"/>
                      </a:cubicBezTo>
                      <a:cubicBezTo>
                        <a:pt x="262" y="385"/>
                        <a:pt x="262" y="378"/>
                        <a:pt x="263" y="372"/>
                      </a:cubicBezTo>
                      <a:cubicBezTo>
                        <a:pt x="270" y="367"/>
                        <a:pt x="277" y="362"/>
                        <a:pt x="285" y="356"/>
                      </a:cubicBezTo>
                      <a:cubicBezTo>
                        <a:pt x="307" y="342"/>
                        <a:pt x="329" y="328"/>
                        <a:pt x="350" y="315"/>
                      </a:cubicBezTo>
                      <a:cubicBezTo>
                        <a:pt x="371" y="328"/>
                        <a:pt x="393" y="342"/>
                        <a:pt x="415" y="356"/>
                      </a:cubicBezTo>
                      <a:cubicBezTo>
                        <a:pt x="423" y="362"/>
                        <a:pt x="430" y="367"/>
                        <a:pt x="437" y="372"/>
                      </a:cubicBezTo>
                      <a:cubicBezTo>
                        <a:pt x="438" y="378"/>
                        <a:pt x="438" y="385"/>
                        <a:pt x="438" y="391"/>
                      </a:cubicBezTo>
                      <a:cubicBezTo>
                        <a:pt x="438" y="398"/>
                        <a:pt x="438" y="404"/>
                        <a:pt x="437" y="410"/>
                      </a:cubicBezTo>
                      <a:cubicBezTo>
                        <a:pt x="430" y="416"/>
                        <a:pt x="423" y="421"/>
                        <a:pt x="415" y="426"/>
                      </a:cubicBezTo>
                      <a:close/>
                      <a:moveTo>
                        <a:pt x="436" y="456"/>
                      </a:moveTo>
                      <a:cubicBezTo>
                        <a:pt x="435" y="476"/>
                        <a:pt x="434" y="495"/>
                        <a:pt x="432" y="514"/>
                      </a:cubicBezTo>
                      <a:cubicBezTo>
                        <a:pt x="417" y="506"/>
                        <a:pt x="402" y="497"/>
                        <a:pt x="386" y="488"/>
                      </a:cubicBezTo>
                      <a:cubicBezTo>
                        <a:pt x="402" y="478"/>
                        <a:pt x="419" y="468"/>
                        <a:pt x="435" y="457"/>
                      </a:cubicBezTo>
                      <a:cubicBezTo>
                        <a:pt x="436" y="456"/>
                        <a:pt x="436" y="456"/>
                        <a:pt x="436" y="456"/>
                      </a:cubicBezTo>
                      <a:close/>
                      <a:moveTo>
                        <a:pt x="314" y="488"/>
                      </a:moveTo>
                      <a:cubicBezTo>
                        <a:pt x="298" y="497"/>
                        <a:pt x="283" y="506"/>
                        <a:pt x="268" y="514"/>
                      </a:cubicBezTo>
                      <a:cubicBezTo>
                        <a:pt x="266" y="495"/>
                        <a:pt x="265" y="476"/>
                        <a:pt x="264" y="456"/>
                      </a:cubicBezTo>
                      <a:cubicBezTo>
                        <a:pt x="264" y="456"/>
                        <a:pt x="264" y="456"/>
                        <a:pt x="265" y="457"/>
                      </a:cubicBezTo>
                      <a:cubicBezTo>
                        <a:pt x="281" y="468"/>
                        <a:pt x="298" y="478"/>
                        <a:pt x="314" y="488"/>
                      </a:cubicBezTo>
                      <a:close/>
                      <a:moveTo>
                        <a:pt x="264" y="326"/>
                      </a:moveTo>
                      <a:cubicBezTo>
                        <a:pt x="265" y="306"/>
                        <a:pt x="266" y="287"/>
                        <a:pt x="268" y="269"/>
                      </a:cubicBezTo>
                      <a:cubicBezTo>
                        <a:pt x="283" y="276"/>
                        <a:pt x="298" y="285"/>
                        <a:pt x="314" y="294"/>
                      </a:cubicBezTo>
                      <a:cubicBezTo>
                        <a:pt x="298" y="304"/>
                        <a:pt x="281" y="315"/>
                        <a:pt x="265" y="326"/>
                      </a:cubicBezTo>
                      <a:cubicBezTo>
                        <a:pt x="264" y="326"/>
                        <a:pt x="264" y="326"/>
                        <a:pt x="264" y="326"/>
                      </a:cubicBezTo>
                      <a:close/>
                      <a:moveTo>
                        <a:pt x="386" y="294"/>
                      </a:moveTo>
                      <a:cubicBezTo>
                        <a:pt x="402" y="285"/>
                        <a:pt x="417" y="276"/>
                        <a:pt x="432" y="269"/>
                      </a:cubicBezTo>
                      <a:cubicBezTo>
                        <a:pt x="434" y="287"/>
                        <a:pt x="435" y="306"/>
                        <a:pt x="436" y="326"/>
                      </a:cubicBezTo>
                      <a:cubicBezTo>
                        <a:pt x="436" y="326"/>
                        <a:pt x="436" y="326"/>
                        <a:pt x="435" y="326"/>
                      </a:cubicBezTo>
                      <a:cubicBezTo>
                        <a:pt x="419" y="315"/>
                        <a:pt x="402" y="304"/>
                        <a:pt x="386" y="294"/>
                      </a:cubicBezTo>
                      <a:close/>
                      <a:moveTo>
                        <a:pt x="350" y="37"/>
                      </a:moveTo>
                      <a:cubicBezTo>
                        <a:pt x="376" y="37"/>
                        <a:pt x="410" y="109"/>
                        <a:pt x="427" y="230"/>
                      </a:cubicBezTo>
                      <a:cubicBezTo>
                        <a:pt x="402" y="243"/>
                        <a:pt x="376" y="257"/>
                        <a:pt x="350" y="272"/>
                      </a:cubicBezTo>
                      <a:cubicBezTo>
                        <a:pt x="324" y="257"/>
                        <a:pt x="298" y="243"/>
                        <a:pt x="273" y="230"/>
                      </a:cubicBezTo>
                      <a:cubicBezTo>
                        <a:pt x="290" y="109"/>
                        <a:pt x="324" y="37"/>
                        <a:pt x="350" y="37"/>
                      </a:cubicBezTo>
                      <a:close/>
                      <a:moveTo>
                        <a:pt x="37" y="191"/>
                      </a:moveTo>
                      <a:cubicBezTo>
                        <a:pt x="38" y="190"/>
                        <a:pt x="42" y="188"/>
                        <a:pt x="52" y="188"/>
                      </a:cubicBezTo>
                      <a:cubicBezTo>
                        <a:pt x="85" y="188"/>
                        <a:pt x="150" y="210"/>
                        <a:pt x="233" y="251"/>
                      </a:cubicBezTo>
                      <a:cubicBezTo>
                        <a:pt x="229" y="283"/>
                        <a:pt x="227" y="318"/>
                        <a:pt x="226" y="352"/>
                      </a:cubicBezTo>
                      <a:cubicBezTo>
                        <a:pt x="219" y="358"/>
                        <a:pt x="211" y="363"/>
                        <a:pt x="204" y="368"/>
                      </a:cubicBezTo>
                      <a:cubicBezTo>
                        <a:pt x="75" y="271"/>
                        <a:pt x="31" y="205"/>
                        <a:pt x="37" y="191"/>
                      </a:cubicBezTo>
                      <a:close/>
                      <a:moveTo>
                        <a:pt x="52" y="594"/>
                      </a:moveTo>
                      <a:cubicBezTo>
                        <a:pt x="42" y="594"/>
                        <a:pt x="38" y="592"/>
                        <a:pt x="37" y="591"/>
                      </a:cubicBezTo>
                      <a:cubicBezTo>
                        <a:pt x="31" y="578"/>
                        <a:pt x="75" y="511"/>
                        <a:pt x="204" y="414"/>
                      </a:cubicBezTo>
                      <a:cubicBezTo>
                        <a:pt x="211" y="419"/>
                        <a:pt x="219" y="425"/>
                        <a:pt x="226" y="430"/>
                      </a:cubicBezTo>
                      <a:cubicBezTo>
                        <a:pt x="227" y="465"/>
                        <a:pt x="229" y="499"/>
                        <a:pt x="233" y="532"/>
                      </a:cubicBezTo>
                      <a:cubicBezTo>
                        <a:pt x="150" y="573"/>
                        <a:pt x="85" y="594"/>
                        <a:pt x="52" y="594"/>
                      </a:cubicBezTo>
                      <a:close/>
                      <a:moveTo>
                        <a:pt x="350" y="745"/>
                      </a:moveTo>
                      <a:cubicBezTo>
                        <a:pt x="324" y="745"/>
                        <a:pt x="290" y="673"/>
                        <a:pt x="273" y="553"/>
                      </a:cubicBezTo>
                      <a:cubicBezTo>
                        <a:pt x="298" y="540"/>
                        <a:pt x="324" y="526"/>
                        <a:pt x="350" y="510"/>
                      </a:cubicBezTo>
                      <a:cubicBezTo>
                        <a:pt x="376" y="526"/>
                        <a:pt x="402" y="540"/>
                        <a:pt x="427" y="553"/>
                      </a:cubicBezTo>
                      <a:cubicBezTo>
                        <a:pt x="410" y="673"/>
                        <a:pt x="376" y="745"/>
                        <a:pt x="350" y="745"/>
                      </a:cubicBezTo>
                      <a:close/>
                      <a:moveTo>
                        <a:pt x="663" y="591"/>
                      </a:moveTo>
                      <a:cubicBezTo>
                        <a:pt x="662" y="592"/>
                        <a:pt x="658" y="594"/>
                        <a:pt x="648" y="594"/>
                      </a:cubicBezTo>
                      <a:cubicBezTo>
                        <a:pt x="615" y="594"/>
                        <a:pt x="550" y="573"/>
                        <a:pt x="467" y="532"/>
                      </a:cubicBezTo>
                      <a:cubicBezTo>
                        <a:pt x="471" y="499"/>
                        <a:pt x="473" y="465"/>
                        <a:pt x="474" y="430"/>
                      </a:cubicBezTo>
                      <a:cubicBezTo>
                        <a:pt x="481" y="425"/>
                        <a:pt x="489" y="419"/>
                        <a:pt x="496" y="414"/>
                      </a:cubicBezTo>
                      <a:cubicBezTo>
                        <a:pt x="625" y="511"/>
                        <a:pt x="669" y="578"/>
                        <a:pt x="663" y="59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  <p:sp>
              <p:nvSpPr>
                <p:cNvPr id="29" name="Oval 98"/>
                <p:cNvSpPr>
                  <a:spLocks noChangeArrowheads="1"/>
                </p:cNvSpPr>
                <p:nvPr/>
              </p:nvSpPr>
              <p:spPr bwMode="auto">
                <a:xfrm>
                  <a:off x="-510287" y="4106518"/>
                  <a:ext cx="148856" cy="148126"/>
                </a:xfrm>
                <a:prstGeom prst="ellipse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Verdana" pitchFamily="34" charset="0"/>
                    <a:ea typeface="Verdana" pitchFamily="34" charset="0"/>
                    <a:cs typeface="Verdana" pitchFamily="34" charset="0"/>
                  </a:endParaRPr>
                </a:p>
              </p:txBody>
            </p:sp>
          </p:grpSp>
        </p:grpSp>
      </p:grpSp>
      <p:sp>
        <p:nvSpPr>
          <p:cNvPr id="32" name="Title 1"/>
          <p:cNvSpPr txBox="1">
            <a:spLocks/>
          </p:cNvSpPr>
          <p:nvPr/>
        </p:nvSpPr>
        <p:spPr bwMode="auto">
          <a:xfrm>
            <a:off x="6699776" y="2803468"/>
            <a:ext cx="2469028" cy="7308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1" i="0" u="none" strike="noStrike" kern="0" cap="none" spc="0" normalizeH="0" baseline="0" noProof="0" dirty="0">
                <a:ln>
                  <a:noFill/>
                </a:ln>
                <a:solidFill>
                  <a:srgbClr val="248059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IMPACT</a:t>
            </a:r>
            <a:endParaRPr kumimoji="0" lang="en-US" sz="4400" b="1" i="0" u="none" strike="noStrike" kern="0" cap="none" spc="0" normalizeH="0" baseline="0" noProof="0" dirty="0">
              <a:ln>
                <a:noFill/>
              </a:ln>
              <a:solidFill>
                <a:srgbClr val="248059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4733325" y="1213824"/>
            <a:ext cx="1120897" cy="3625590"/>
            <a:chOff x="4826304" y="1213824"/>
            <a:chExt cx="1120897" cy="3625590"/>
          </a:xfrm>
          <a:solidFill>
            <a:srgbClr val="248059"/>
          </a:solidFill>
        </p:grpSpPr>
        <p:sp>
          <p:nvSpPr>
            <p:cNvPr id="7" name="Rectangle 6"/>
            <p:cNvSpPr/>
            <p:nvPr>
              <p:custDataLst>
                <p:tags r:id="rId1"/>
              </p:custDataLst>
            </p:nvPr>
          </p:nvSpPr>
          <p:spPr bwMode="auto">
            <a:xfrm>
              <a:off x="4826304" y="1213824"/>
              <a:ext cx="1120897" cy="3625590"/>
            </a:xfrm>
            <a:prstGeom prst="rect">
              <a:avLst/>
            </a:prstGeom>
            <a:grp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72000" tIns="139700" rIns="72000" bIns="13970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  <a:sym typeface="+mn-lt"/>
                </a:rPr>
                <a:t>Global and </a:t>
              </a:r>
              <a:b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  <a:sym typeface="+mn-lt"/>
                </a:rPr>
              </a:b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itchFamily="34" charset="0"/>
                  <a:ea typeface="Verdana" pitchFamily="34" charset="0"/>
                  <a:cs typeface="Verdana" pitchFamily="34" charset="0"/>
                  <a:sym typeface="+mn-lt"/>
                </a:rPr>
                <a:t>local partners</a:t>
              </a: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24974" y="3429710"/>
              <a:ext cx="723556" cy="723556"/>
            </a:xfrm>
            <a:prstGeom prst="rect">
              <a:avLst/>
            </a:prstGeom>
            <a:grpFill/>
          </p:spPr>
        </p:pic>
      </p:grpSp>
      <p:pic>
        <p:nvPicPr>
          <p:cNvPr id="37" name="Picture 36" descr="All On Logo.png">
            <a:extLst>
              <a:ext uri="{FF2B5EF4-FFF2-40B4-BE49-F238E27FC236}">
                <a16:creationId xmlns:a16="http://schemas.microsoft.com/office/drawing/2014/main" id="{45FEF23C-62C7-4AF6-B3DD-705B2D9D6764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38725" y="1097915"/>
            <a:ext cx="889961" cy="451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164729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7" grpId="0" animBg="1"/>
      <p:bldP spid="9" grpId="0" animBg="1"/>
      <p:bldP spid="12" grpId="0" animBg="1"/>
      <p:bldP spid="3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789952" y="2227383"/>
            <a:ext cx="3581399" cy="5047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3000"/>
              </a:lnSpc>
              <a:spcBef>
                <a:spcPts val="0"/>
              </a:spcBef>
              <a:spcAft>
                <a:spcPts val="6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What ca</a:t>
            </a:r>
            <a:r>
              <a:rPr lang="en-GB" sz="3000" dirty="0">
                <a:solidFill>
                  <a:srgbClr val="FFFFFF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 you do</a:t>
            </a:r>
            <a:r>
              <a:rPr kumimoji="0" lang="en-GB" sz="3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628234582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06B90-59C3-4CC1-94DB-46CCB2A2ED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tech sector can contribute to the off grid energy revolution in a variety of ways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3774466" y="1433122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System Design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2748BD0-6BD4-4035-BE56-F25ED70755E9}"/>
              </a:ext>
            </a:extLst>
          </p:cNvPr>
          <p:cNvCxnSpPr/>
          <p:nvPr/>
        </p:nvCxnSpPr>
        <p:spPr>
          <a:xfrm>
            <a:off x="4511859" y="4148229"/>
            <a:ext cx="0" cy="228600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675A6C1F-4539-4DA2-9F84-7885E9DF224A}"/>
              </a:ext>
            </a:extLst>
          </p:cNvPr>
          <p:cNvCxnSpPr/>
          <p:nvPr/>
        </p:nvCxnSpPr>
        <p:spPr>
          <a:xfrm>
            <a:off x="4511858" y="1937869"/>
            <a:ext cx="2" cy="228600"/>
          </a:xfrm>
          <a:prstGeom prst="line">
            <a:avLst/>
          </a:prstGeom>
          <a:ln w="19050">
            <a:solidFill>
              <a:schemeClr val="accent3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FFBB4951-301F-4EB7-AF3A-360241308934}"/>
              </a:ext>
            </a:extLst>
          </p:cNvPr>
          <p:cNvCxnSpPr/>
          <p:nvPr/>
        </p:nvCxnSpPr>
        <p:spPr>
          <a:xfrm flipV="1">
            <a:off x="5240503" y="1737708"/>
            <a:ext cx="1417320" cy="743462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0987DBB7-3CC6-49AB-97D5-26AC270DF7D1}"/>
              </a:ext>
            </a:extLst>
          </p:cNvPr>
          <p:cNvCxnSpPr/>
          <p:nvPr/>
        </p:nvCxnSpPr>
        <p:spPr>
          <a:xfrm>
            <a:off x="5240503" y="3812900"/>
            <a:ext cx="1417320" cy="840202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15C17875-2B63-4D1C-892D-A48417AF71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639" t="10983" r="16541" b="13928"/>
          <a:stretch/>
        </p:blipFill>
        <p:spPr>
          <a:xfrm>
            <a:off x="4006499" y="2301802"/>
            <a:ext cx="1057803" cy="1188720"/>
          </a:xfrm>
          <a:prstGeom prst="rect">
            <a:avLst/>
          </a:prstGeom>
          <a:solidFill>
            <a:srgbClr val="8D3C3C"/>
          </a:solidFill>
          <a:ln w="28575">
            <a:noFill/>
          </a:ln>
          <a:effectLst/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5A20EBB3-F479-4437-A261-F2B086FEBEEA}"/>
              </a:ext>
            </a:extLst>
          </p:cNvPr>
          <p:cNvSpPr txBox="1"/>
          <p:nvPr/>
        </p:nvSpPr>
        <p:spPr>
          <a:xfrm>
            <a:off x="4007484" y="3515825"/>
            <a:ext cx="1027126" cy="45678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113000"/>
              </a:lnSpc>
              <a:spcAft>
                <a:spcPts val="60"/>
              </a:spcAft>
            </a:pPr>
            <a:r>
              <a:rPr lang="en-US" sz="1200" b="1" dirty="0">
                <a:solidFill>
                  <a:srgbClr val="55A6B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FF GRID ENERGY</a:t>
            </a:r>
          </a:p>
        </p:txBody>
      </p:sp>
      <p:sp>
        <p:nvSpPr>
          <p:cNvPr id="33" name="Oval 32"/>
          <p:cNvSpPr>
            <a:spLocks noChangeAspect="1"/>
          </p:cNvSpPr>
          <p:nvPr/>
        </p:nvSpPr>
        <p:spPr bwMode="auto">
          <a:xfrm>
            <a:off x="3606647" y="2243860"/>
            <a:ext cx="1828800" cy="1828800"/>
          </a:xfrm>
          <a:prstGeom prst="ellipse">
            <a:avLst/>
          </a:prstGeom>
          <a:noFill/>
          <a:ln w="19050">
            <a:solidFill>
              <a:srgbClr val="55A6B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709509" y="1080619"/>
            <a:ext cx="1604700" cy="298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>
              <a:lnSpc>
                <a:spcPct val="113000"/>
              </a:lnSpc>
              <a:spcAft>
                <a:spcPts val="60"/>
              </a:spcAft>
            </a:pPr>
            <a:r>
              <a:rPr lang="en-US" sz="14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RDWARE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66630" y="1080619"/>
            <a:ext cx="1604700" cy="298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 defTabSz="914378">
              <a:defRPr/>
            </a:pPr>
            <a:r>
              <a:rPr lang="en-US" sz="14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TECH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480487" y="1080619"/>
            <a:ext cx="2018206" cy="298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 defTabSz="914378">
              <a:defRPr/>
            </a:pPr>
            <a:r>
              <a:rPr lang="en-US" sz="14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FTWARE/ DATA</a:t>
            </a:r>
          </a:p>
        </p:txBody>
      </p:sp>
      <p:sp>
        <p:nvSpPr>
          <p:cNvPr id="38" name="Rounded Rectangle 37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3774466" y="4466762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marL="9525"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Productive</a:t>
            </a:r>
            <a:b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</a:b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Use Solutions</a:t>
            </a:r>
          </a:p>
        </p:txBody>
      </p:sp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831587" y="4466762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Agent Banking</a:t>
            </a:r>
          </a:p>
        </p:txBody>
      </p:sp>
      <p:sp>
        <p:nvSpPr>
          <p:cNvPr id="41" name="Rounded Rectangle 40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6752197" y="4466762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Data Analytics</a:t>
            </a:r>
          </a:p>
        </p:txBody>
      </p:sp>
      <p:sp>
        <p:nvSpPr>
          <p:cNvPr id="43" name="Rounded Rectangle 42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831587" y="2904846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Credit Ratings</a:t>
            </a:r>
          </a:p>
        </p:txBody>
      </p:sp>
      <p:sp>
        <p:nvSpPr>
          <p:cNvPr id="44" name="Rounded Rectangle 43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869611" y="1433122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Payment Solutions</a:t>
            </a:r>
          </a:p>
        </p:txBody>
      </p:sp>
      <p:sp>
        <p:nvSpPr>
          <p:cNvPr id="45" name="Rounded Rectangle 44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6752197" y="1433122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Remote Monitoring </a:t>
            </a:r>
          </a:p>
        </p:txBody>
      </p:sp>
      <p:sp>
        <p:nvSpPr>
          <p:cNvPr id="46" name="Rounded Rectangle 45">
            <a:extLst>
              <a:ext uri="{FF2B5EF4-FFF2-40B4-BE49-F238E27FC236}">
                <a16:creationId xmlns:a16="http://schemas.microsoft.com/office/drawing/2014/main" id="{8B7CCD5C-1AD2-4724-B29B-D7EF2F0B3705}"/>
              </a:ext>
            </a:extLst>
          </p:cNvPr>
          <p:cNvSpPr/>
          <p:nvPr/>
        </p:nvSpPr>
        <p:spPr bwMode="auto">
          <a:xfrm>
            <a:off x="6758761" y="2918864"/>
            <a:ext cx="1474787" cy="457200"/>
          </a:xfrm>
          <a:prstGeom prst="roundRect">
            <a:avLst>
              <a:gd name="adj" fmla="val 29063"/>
            </a:avLst>
          </a:prstGeom>
          <a:solidFill>
            <a:schemeClr val="accent3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200" b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Smart Metering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E82B61ED-2DB7-41FC-98A3-19DF56C5133F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5504027" y="3155087"/>
            <a:ext cx="1188720" cy="0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Oval 65"/>
          <p:cNvSpPr>
            <a:spLocks noChangeAspect="1"/>
          </p:cNvSpPr>
          <p:nvPr/>
        </p:nvSpPr>
        <p:spPr bwMode="auto">
          <a:xfrm>
            <a:off x="3538067" y="2177108"/>
            <a:ext cx="1965960" cy="1965960"/>
          </a:xfrm>
          <a:prstGeom prst="ellipse">
            <a:avLst/>
          </a:prstGeom>
          <a:noFill/>
          <a:ln w="1905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+mn-lt"/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FBB4951-301F-4EB7-AF3A-360241308934}"/>
              </a:ext>
            </a:extLst>
          </p:cNvPr>
          <p:cNvCxnSpPr/>
          <p:nvPr/>
        </p:nvCxnSpPr>
        <p:spPr>
          <a:xfrm flipH="1" flipV="1">
            <a:off x="2412978" y="1721554"/>
            <a:ext cx="1417320" cy="743462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0987DBB7-3CC6-49AB-97D5-26AC270DF7D1}"/>
              </a:ext>
            </a:extLst>
          </p:cNvPr>
          <p:cNvCxnSpPr/>
          <p:nvPr/>
        </p:nvCxnSpPr>
        <p:spPr>
          <a:xfrm flipH="1">
            <a:off x="2412978" y="3855160"/>
            <a:ext cx="1417320" cy="840202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E82B61ED-2DB7-41FC-98A3-19DF56C5133F}"/>
              </a:ext>
            </a:extLst>
          </p:cNvPr>
          <p:cNvCxnSpPr>
            <a:cxnSpLocks noChangeAspect="1"/>
          </p:cNvCxnSpPr>
          <p:nvPr/>
        </p:nvCxnSpPr>
        <p:spPr>
          <a:xfrm flipH="1" flipV="1">
            <a:off x="2355603" y="3155087"/>
            <a:ext cx="1188720" cy="0"/>
          </a:xfrm>
          <a:prstGeom prst="line">
            <a:avLst/>
          </a:prstGeom>
          <a:ln w="19050">
            <a:solidFill>
              <a:schemeClr val="accent3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3070337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4" grpId="0"/>
      <p:bldP spid="34" grpId="0"/>
      <p:bldP spid="36" grpId="0"/>
      <p:bldP spid="38" grpId="0" animBg="1"/>
      <p:bldP spid="40" grpId="0" animBg="1"/>
      <p:bldP spid="41" grpId="0" animBg="1"/>
      <p:bldP spid="43" grpId="0" animBg="1"/>
      <p:bldP spid="44" grpId="0" animBg="1"/>
      <p:bldP spid="45" grpId="0" animBg="1"/>
      <p:bldP spid="4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139596" y="2227383"/>
            <a:ext cx="3581399" cy="5047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113000"/>
              </a:lnSpc>
              <a:spcAft>
                <a:spcPts val="60"/>
              </a:spcAft>
            </a:pPr>
            <a:r>
              <a:rPr lang="en-GB" sz="30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 are the challenges?  </a:t>
            </a:r>
          </a:p>
        </p:txBody>
      </p:sp>
    </p:spTree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254711" y="1754007"/>
            <a:ext cx="8418479" cy="274320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62000" tIns="139700" rIns="44450" bIns="139700" rtlCol="0" anchor="ctr" anchorCtr="0">
            <a:noAutofit/>
          </a:bodyPr>
          <a:lstStyle/>
          <a:p>
            <a:pPr algn="ctr">
              <a:lnSpc>
                <a:spcPct val="95000"/>
              </a:lnSpc>
              <a:spcBef>
                <a:spcPct val="0"/>
              </a:spcBef>
              <a:spcAft>
                <a:spcPct val="0"/>
              </a:spcAft>
            </a:pPr>
            <a:endParaRPr 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  <a:sym typeface="+mn-lt"/>
            </a:endParaRPr>
          </a:p>
        </p:txBody>
      </p:sp>
      <p:sp>
        <p:nvSpPr>
          <p:cNvPr id="174" name="Oval 173"/>
          <p:cNvSpPr>
            <a:spLocks noChangeAspect="1"/>
          </p:cNvSpPr>
          <p:nvPr/>
        </p:nvSpPr>
        <p:spPr>
          <a:xfrm>
            <a:off x="1249796" y="1768178"/>
            <a:ext cx="230361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noFill/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sp>
        <p:nvSpPr>
          <p:cNvPr id="175" name="Oval 174"/>
          <p:cNvSpPr>
            <a:spLocks noChangeAspect="1"/>
          </p:cNvSpPr>
          <p:nvPr/>
        </p:nvSpPr>
        <p:spPr>
          <a:xfrm>
            <a:off x="2057482" y="1768178"/>
            <a:ext cx="230361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noFill/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</a:t>
            </a:r>
          </a:p>
        </p:txBody>
      </p:sp>
      <p:sp>
        <p:nvSpPr>
          <p:cNvPr id="176" name="Oval 175"/>
          <p:cNvSpPr>
            <a:spLocks noChangeAspect="1"/>
          </p:cNvSpPr>
          <p:nvPr/>
        </p:nvSpPr>
        <p:spPr>
          <a:xfrm>
            <a:off x="2909960" y="1768178"/>
            <a:ext cx="230361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noFill/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</a:t>
            </a:r>
          </a:p>
        </p:txBody>
      </p:sp>
      <p:sp>
        <p:nvSpPr>
          <p:cNvPr id="177" name="Oval 176"/>
          <p:cNvSpPr>
            <a:spLocks noChangeAspect="1"/>
          </p:cNvSpPr>
          <p:nvPr/>
        </p:nvSpPr>
        <p:spPr>
          <a:xfrm>
            <a:off x="3739250" y="1768178"/>
            <a:ext cx="230361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noFill/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2</a:t>
            </a:r>
          </a:p>
        </p:txBody>
      </p:sp>
      <p:sp>
        <p:nvSpPr>
          <p:cNvPr id="178" name="Rectangle 177"/>
          <p:cNvSpPr>
            <a:spLocks/>
          </p:cNvSpPr>
          <p:nvPr/>
        </p:nvSpPr>
        <p:spPr>
          <a:xfrm>
            <a:off x="254711" y="1754007"/>
            <a:ext cx="692294" cy="274320"/>
          </a:xfrm>
          <a:prstGeom prst="rect">
            <a:avLst/>
          </a:prstGeom>
          <a:solidFill>
            <a:srgbClr val="55A6B0"/>
          </a:solidFill>
          <a:ln w="9525" cap="flat" cmpd="sng" algn="ctr">
            <a:noFill/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nking</a:t>
            </a:r>
          </a:p>
        </p:txBody>
      </p:sp>
      <p:sp>
        <p:nvSpPr>
          <p:cNvPr id="179" name="Oval 178"/>
          <p:cNvSpPr>
            <a:spLocks noChangeAspect="1"/>
          </p:cNvSpPr>
          <p:nvPr/>
        </p:nvSpPr>
        <p:spPr>
          <a:xfrm>
            <a:off x="5245094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</a:t>
            </a:r>
          </a:p>
        </p:txBody>
      </p:sp>
      <p:sp>
        <p:nvSpPr>
          <p:cNvPr id="180" name="Oval 179"/>
          <p:cNvSpPr>
            <a:spLocks noChangeAspect="1"/>
          </p:cNvSpPr>
          <p:nvPr/>
        </p:nvSpPr>
        <p:spPr>
          <a:xfrm>
            <a:off x="5561915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4</a:t>
            </a:r>
          </a:p>
        </p:txBody>
      </p:sp>
      <p:sp>
        <p:nvSpPr>
          <p:cNvPr id="181" name="Oval 180"/>
          <p:cNvSpPr>
            <a:spLocks noChangeAspect="1"/>
          </p:cNvSpPr>
          <p:nvPr/>
        </p:nvSpPr>
        <p:spPr>
          <a:xfrm>
            <a:off x="5838276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7</a:t>
            </a:r>
          </a:p>
        </p:txBody>
      </p:sp>
      <p:sp>
        <p:nvSpPr>
          <p:cNvPr id="182" name="Oval 181"/>
          <p:cNvSpPr>
            <a:spLocks noChangeAspect="1"/>
          </p:cNvSpPr>
          <p:nvPr/>
        </p:nvSpPr>
        <p:spPr>
          <a:xfrm>
            <a:off x="6155097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8</a:t>
            </a:r>
          </a:p>
        </p:txBody>
      </p:sp>
      <p:sp>
        <p:nvSpPr>
          <p:cNvPr id="183" name="Oval 182"/>
          <p:cNvSpPr>
            <a:spLocks noChangeAspect="1"/>
          </p:cNvSpPr>
          <p:nvPr/>
        </p:nvSpPr>
        <p:spPr>
          <a:xfrm>
            <a:off x="6471918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3</a:t>
            </a:r>
          </a:p>
        </p:txBody>
      </p:sp>
      <p:sp>
        <p:nvSpPr>
          <p:cNvPr id="184" name="Oval 183"/>
          <p:cNvSpPr>
            <a:spLocks noChangeAspect="1"/>
          </p:cNvSpPr>
          <p:nvPr/>
        </p:nvSpPr>
        <p:spPr>
          <a:xfrm>
            <a:off x="6788739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2</a:t>
            </a:r>
          </a:p>
        </p:txBody>
      </p:sp>
      <p:sp>
        <p:nvSpPr>
          <p:cNvPr id="185" name="Oval 184"/>
          <p:cNvSpPr>
            <a:spLocks noChangeAspect="1"/>
          </p:cNvSpPr>
          <p:nvPr/>
        </p:nvSpPr>
        <p:spPr>
          <a:xfrm>
            <a:off x="7105560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4</a:t>
            </a:r>
          </a:p>
        </p:txBody>
      </p:sp>
      <p:sp>
        <p:nvSpPr>
          <p:cNvPr id="186" name="Oval 185"/>
          <p:cNvSpPr>
            <a:spLocks noChangeAspect="1"/>
          </p:cNvSpPr>
          <p:nvPr/>
        </p:nvSpPr>
        <p:spPr>
          <a:xfrm>
            <a:off x="7413571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6</a:t>
            </a:r>
          </a:p>
        </p:txBody>
      </p:sp>
      <p:sp>
        <p:nvSpPr>
          <p:cNvPr id="187" name="Oval 186"/>
          <p:cNvSpPr>
            <a:spLocks noChangeAspect="1"/>
          </p:cNvSpPr>
          <p:nvPr/>
        </p:nvSpPr>
        <p:spPr>
          <a:xfrm>
            <a:off x="7730392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6</a:t>
            </a:r>
          </a:p>
        </p:txBody>
      </p:sp>
      <p:sp>
        <p:nvSpPr>
          <p:cNvPr id="188" name="Oval 187"/>
          <p:cNvSpPr>
            <a:spLocks noChangeAspect="1"/>
          </p:cNvSpPr>
          <p:nvPr/>
        </p:nvSpPr>
        <p:spPr>
          <a:xfrm>
            <a:off x="8071489" y="1768178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7</a:t>
            </a:r>
          </a:p>
        </p:txBody>
      </p:sp>
      <p:sp>
        <p:nvSpPr>
          <p:cNvPr id="189" name="Oval 188"/>
          <p:cNvSpPr>
            <a:spLocks noChangeAspect="1"/>
          </p:cNvSpPr>
          <p:nvPr/>
        </p:nvSpPr>
        <p:spPr>
          <a:xfrm>
            <a:off x="8395701" y="1773051"/>
            <a:ext cx="228600" cy="228600"/>
          </a:xfrm>
          <a:prstGeom prst="ellipse">
            <a:avLst/>
          </a:prstGeom>
          <a:solidFill>
            <a:srgbClr val="55A6B0"/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lIns="0" tIns="90000" rIns="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2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621" y="215337"/>
            <a:ext cx="7533732" cy="789501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</a:rPr>
            </a:b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Nigeria lags behind peers in terms of installed generation capacity...</a:t>
            </a:r>
            <a:br>
              <a:rPr lang="en-US" dirty="0">
                <a:solidFill>
                  <a:schemeClr val="bg1"/>
                </a:solidFill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1" name="Rectangle 3"/>
          <p:cNvSpPr>
            <a:spLocks noChangeArrowheads="1"/>
          </p:cNvSpPr>
          <p:nvPr/>
        </p:nvSpPr>
        <p:spPr bwMode="gray">
          <a:xfrm>
            <a:off x="455614" y="4773675"/>
            <a:ext cx="4541514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700" dirty="0">
                <a:solidFill>
                  <a:srgbClr val="000000"/>
                </a:solidFill>
                <a:cs typeface="Arial" pitchFamily="34" charset="0"/>
              </a:rPr>
              <a:t>Source: Global power production rankings, accessed on </a:t>
            </a:r>
            <a:r>
              <a:rPr lang="en-US" sz="700" dirty="0">
                <a:solidFill>
                  <a:srgbClr val="000000"/>
                </a:solidFill>
                <a:cs typeface="Arial" pitchFamily="34" charset="0"/>
                <a:hlinkClick r:id="rId27"/>
              </a:rPr>
              <a:t>www.cia.gov</a:t>
            </a:r>
            <a:r>
              <a:rPr lang="en-US" sz="700" dirty="0">
                <a:solidFill>
                  <a:srgbClr val="000000"/>
                </a:solidFill>
                <a:cs typeface="Arial" pitchFamily="34" charset="0"/>
              </a:rPr>
              <a:t>,</a:t>
            </a:r>
          </a:p>
          <a:p>
            <a:pPr>
              <a:lnSpc>
                <a:spcPct val="90000"/>
              </a:lnSpc>
            </a:pPr>
            <a:r>
              <a:rPr lang="en-US" sz="700" dirty="0">
                <a:solidFill>
                  <a:srgbClr val="000000"/>
                </a:solidFill>
                <a:cs typeface="Arial" pitchFamily="34" charset="0"/>
              </a:rPr>
              <a:t>USAID Power Africa report 2017.</a:t>
            </a:r>
          </a:p>
        </p:txBody>
      </p:sp>
      <p:sp>
        <p:nvSpPr>
          <p:cNvPr id="145" name="ColumnHeader"/>
          <p:cNvSpPr>
            <a:spLocks noChangeArrowheads="1"/>
          </p:cNvSpPr>
          <p:nvPr/>
        </p:nvSpPr>
        <p:spPr bwMode="gray">
          <a:xfrm>
            <a:off x="354182" y="1060988"/>
            <a:ext cx="3906544" cy="5539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igeria's installed capacity ranks worst and is </a:t>
            </a:r>
            <a:r>
              <a:rPr lang="en-US" sz="1200" b="1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9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W less than the MINT Avg....</a:t>
            </a:r>
          </a:p>
        </p:txBody>
      </p:sp>
      <p:sp>
        <p:nvSpPr>
          <p:cNvPr id="146" name="ColumnHeader"/>
          <p:cNvSpPr>
            <a:spLocks noChangeArrowheads="1"/>
          </p:cNvSpPr>
          <p:nvPr/>
        </p:nvSpPr>
        <p:spPr bwMode="gray">
          <a:xfrm>
            <a:off x="4812414" y="1070012"/>
            <a:ext cx="3860776" cy="5847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rgbClr val="177B57"/>
            </a:outerShdw>
          </a:effectLst>
        </p:spPr>
        <p:txBody>
          <a:bodyPr wrap="square" tIns="91440" bIns="91440" anchor="b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.. it also ranks worst and is </a:t>
            </a:r>
            <a:r>
              <a:rPr lang="en-US" sz="1200" b="1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7</a:t>
            </a:r>
            <a:r>
              <a:rPr kumimoji="0" lang="en-US" sz="12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W less when compared to N-11 peer Avg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graphicFrame>
        <p:nvGraphicFramePr>
          <p:cNvPr id="147" name="Object 52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857020"/>
              </p:ext>
            </p:extLst>
          </p:nvPr>
        </p:nvGraphicFramePr>
        <p:xfrm>
          <a:off x="587250" y="2261134"/>
          <a:ext cx="3736959" cy="2119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cxnSp>
        <p:nvCxnSpPr>
          <p:cNvPr id="148" name="Straight Connector 147"/>
          <p:cNvCxnSpPr/>
          <p:nvPr>
            <p:custDataLst>
              <p:tags r:id="rId2"/>
            </p:custDataLst>
          </p:nvPr>
        </p:nvCxnSpPr>
        <p:spPr bwMode="gray">
          <a:xfrm>
            <a:off x="860300" y="3201086"/>
            <a:ext cx="3400425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lgDash"/>
            <a:headEnd type="none"/>
            <a:tailEnd type="none"/>
          </a:ln>
          <a:effectLst/>
        </p:spPr>
      </p:cxnSp>
      <p:sp>
        <p:nvSpPr>
          <p:cNvPr id="149" name="Right Arrow 148"/>
          <p:cNvSpPr/>
          <p:nvPr>
            <p:custDataLst>
              <p:tags r:id="rId3"/>
            </p:custDataLst>
          </p:nvPr>
        </p:nvSpPr>
        <p:spPr bwMode="gray">
          <a:xfrm rot="10800000">
            <a:off x="4311525" y="3124886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" name="Text Placeholder 12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19000" y="2083439"/>
            <a:ext cx="263525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GW</a:t>
            </a:r>
            <a:endParaRPr lang="en-GB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151" name="Text Placeholder 27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1931862" y="4276072"/>
            <a:ext cx="40005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A12E435-B289-457A-99D7-6E12296769F1}" type="datetime'T''''u''r''k''''''''''''''''''''''e''y''''''''''''''''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Turkey</a:t>
            </a:fld>
            <a:endParaRPr lang="en-GB" sz="800" b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52" name="Text Placeholder 13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073025" y="4276072"/>
            <a:ext cx="414337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73E27CD-F886-4C90-AB76-60AFB517FB5D}" type="datetime'M''''''''''''ex''''''''i''''''''''''''co''''''''''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Mexico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153" name="Text Placeholder 29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625725" y="4276072"/>
            <a:ext cx="414337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6D5B20-6123-4F46-913F-A7BAC75FD15C}" type="datetime'N''''''''''''ig''eri''a''''''''''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Nigeria</a:t>
            </a:fld>
            <a:endParaRPr lang="en-GB" sz="800" b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54" name="Text Placeholder 28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704975" y="4276072"/>
            <a:ext cx="558800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950DBBF-007A-4BC9-9113-FFACFC5EBA2F}" type="datetime'''''''''''Ind''''''on''''''''e''''s''''''''''''i''''''a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Indonesia</a:t>
            </a:fld>
            <a:endParaRPr lang="en-GB" sz="800" b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55" name="Text Placeholder 7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577803" y="3015851"/>
            <a:ext cx="563562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04D959-5BF4-43C4-8D69-EFBA7485C82B}" type="datetime'''''''''''''''''''''''4''''''''''3'''''''''''''''''''''''''">
              <a:rPr lang="en-US" sz="10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43</a:t>
            </a:fld>
            <a:r>
              <a:rPr lang="en-US" sz="10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 </a:t>
            </a:r>
            <a:r>
              <a:rPr lang="en-US" sz="1000" b="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GW</a:t>
            </a:r>
            <a:r>
              <a:rPr lang="en-US" sz="10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 is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MINT </a:t>
            </a:r>
            <a:r>
              <a:rPr lang="en-US" sz="1000" b="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Avg</a:t>
            </a:r>
            <a:endParaRPr lang="en-GB" sz="10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graphicFrame>
        <p:nvGraphicFramePr>
          <p:cNvPr id="156" name="Object 100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23650326"/>
              </p:ext>
            </p:extLst>
          </p:nvPr>
        </p:nvGraphicFramePr>
        <p:xfrm>
          <a:off x="4858161" y="2261134"/>
          <a:ext cx="3822800" cy="2119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157" name="Straight Connector 156"/>
          <p:cNvCxnSpPr/>
          <p:nvPr>
            <p:custDataLst>
              <p:tags r:id="rId11"/>
            </p:custDataLst>
          </p:nvPr>
        </p:nvCxnSpPr>
        <p:spPr bwMode="gray">
          <a:xfrm>
            <a:off x="5216936" y="3459339"/>
            <a:ext cx="3409950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lgDash"/>
            <a:headEnd type="none"/>
            <a:tailEnd type="none"/>
          </a:ln>
          <a:effectLst/>
        </p:spPr>
      </p:cxnSp>
      <p:sp>
        <p:nvSpPr>
          <p:cNvPr id="158" name="Right Arrow 157"/>
          <p:cNvSpPr/>
          <p:nvPr>
            <p:custDataLst>
              <p:tags r:id="rId12"/>
            </p:custDataLst>
          </p:nvPr>
        </p:nvSpPr>
        <p:spPr bwMode="gray">
          <a:xfrm rot="10800000">
            <a:off x="8677686" y="3383139"/>
            <a:ext cx="128587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rgbClr val="808080"/>
          </a:solidFill>
          <a:ln w="9525" cap="flat" cmpd="sng" algn="ctr">
            <a:noFill/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9" name="Text Placeholder 20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4905786" y="2083439"/>
            <a:ext cx="263525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2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GW</a:t>
            </a:r>
            <a:endParaRPr lang="en-GB" sz="12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160" name="Text Placeholder 39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 flipV="1">
            <a:off x="8393523" y="4276072"/>
            <a:ext cx="152400" cy="401637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270187E-3C1B-44E0-A576-DC42788AC0A6}" type="datetime'''''N''''''''''''i''ge''r''''''''''''''''ia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Nigeria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1" name="Text Placeholder 38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 flipV="1">
            <a:off x="8083961" y="4276072"/>
            <a:ext cx="152400" cy="665162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0FD2C68-5B4F-453D-B1EF-34C5A9CEA4B2}" type="datetime'''''''''B''''''''angla''''''''''d''''''e''''''''s''h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Bangladesh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2" name="Text Placeholder 37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 flipV="1">
            <a:off x="7774398" y="4276072"/>
            <a:ext cx="152400" cy="569912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5069703-AE79-409B-9DFE-1EABD4528C77}" type="datetime'''''P''''''''''''''h''''''''''''illip''i''n''''''e''''''s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hillipines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3" name="Text Placeholder 36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 flipV="1">
            <a:off x="7464836" y="4276072"/>
            <a:ext cx="152400" cy="484187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7B5D37F-4C38-4CE2-8A67-F44DC8C62C8A}" type="datetime'P''a''''''''k''i''''''''''s''''''''''t''''''''a''n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Pakistan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4" name="Text Placeholder 35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 flipV="1">
            <a:off x="7155273" y="4276072"/>
            <a:ext cx="152400" cy="463550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5510D91-018A-4A13-A004-E9DFFE100045}" type="datetime'V''''''''''i''''''''''e''''''t''''''n''''''''a''''''''m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Vietnam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5" name="Text Placeholder 3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 flipV="1">
            <a:off x="6845711" y="4276072"/>
            <a:ext cx="152400" cy="322262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24AC64D-EB7A-4310-8AC7-1A1AF99EE3BC}" type="datetime'''''''E''g''''''''''''''''''''''''''''y''''''''''''pt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Egypt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6" name="Text Placeholder 33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 flipV="1">
            <a:off x="6536148" y="4276072"/>
            <a:ext cx="152400" cy="546100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3C38118-9B6A-4179-85C3-4B0BBEB75398}" type="datetime'Indo''''''''''n''e''s''''''''i''a''''''''''''''''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ndonesia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7" name="Text Placeholder 3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 flipV="1">
            <a:off x="6226586" y="4276072"/>
            <a:ext cx="152400" cy="387350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D9D1002-FD70-4836-B026-666FE546677B}" type="datetime'T''''''''''''u''''''''''''''''''''''''r''k''''''ey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Arial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Turkey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68" name="Text Placeholder 21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 flipV="1">
            <a:off x="5917023" y="4276072"/>
            <a:ext cx="152400" cy="401637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739B44F-616A-4FB5-BD22-172D4FD7929E}" type="datetime'''''''M''''''''''''''e''x''''i''''''''co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Mexico</a:t>
            </a:fld>
            <a:endParaRPr lang="en-GB" sz="8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169" name="Text Placeholder 4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 flipV="1">
            <a:off x="5607461" y="4276072"/>
            <a:ext cx="152400" cy="217487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BCA4C11-902A-47DE-94A5-58563F2C03D2}" type="datetime'''''''''''''''''''''I''r''''a''n''''''''''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Iran</a:t>
            </a:fld>
            <a:endParaRPr lang="en-GB" sz="800" b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70" name="Text Placeholder 40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 flipV="1">
            <a:off x="5297898" y="4276072"/>
            <a:ext cx="152400" cy="700087"/>
          </a:xfrm>
          <a:prstGeom prst="rect">
            <a:avLst/>
          </a:prstGeom>
          <a:noFill/>
          <a:effectLst/>
        </p:spPr>
        <p:txBody>
          <a:bodyPr vert="eaVert"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EE910EE-5E20-4D3A-B276-D808693BAED9}" type="datetime'''''''''''S''''''''out''h'' ''K''o''r''''e''a'''''''''''">
              <a:rPr lang="en-US" sz="8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South Korea</a:t>
            </a:fld>
            <a:endParaRPr lang="en-GB" sz="800" b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171" name="Text Placeholder 6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52396" y="3306939"/>
            <a:ext cx="561975" cy="3048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70212F1-51F0-4FF9-8F0C-F80D838469CA}" type="datetime'''''''''''''''4''''''''''''''''''''''''''''''''1'''''''''''">
              <a:rPr lang="en-US" sz="1000" b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41</a:t>
            </a:fld>
            <a:r>
              <a:rPr lang="en-US" sz="10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 </a:t>
            </a:r>
            <a:r>
              <a:rPr lang="en-US" sz="1000" b="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GW</a:t>
            </a:r>
            <a:r>
              <a:rPr lang="en-US" sz="10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 is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000" b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N-11 Avg.</a:t>
            </a:r>
            <a:endParaRPr lang="en-GB" sz="1000" b="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172" name="Rectangle 171"/>
          <p:cNvSpPr/>
          <p:nvPr/>
        </p:nvSpPr>
        <p:spPr>
          <a:xfrm>
            <a:off x="3418195" y="1744329"/>
            <a:ext cx="847292" cy="2854006"/>
          </a:xfrm>
          <a:prstGeom prst="rect">
            <a:avLst/>
          </a:prstGeom>
          <a:noFill/>
          <a:ln w="15875" cap="flat" cmpd="sng" algn="ctr">
            <a:solidFill>
              <a:srgbClr val="55A6B0"/>
            </a:solidFill>
            <a:prstDash val="dash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8363546" y="1744329"/>
            <a:ext cx="309644" cy="3101656"/>
          </a:xfrm>
          <a:prstGeom prst="rect">
            <a:avLst/>
          </a:prstGeom>
          <a:noFill/>
          <a:ln w="15875" cap="flat" cmpd="sng" algn="ctr">
            <a:solidFill>
              <a:srgbClr val="55A6B0"/>
            </a:solidFill>
            <a:prstDash val="dash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580780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5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1038411"/>
              </p:ext>
            </p:extLst>
          </p:nvPr>
        </p:nvGraphicFramePr>
        <p:xfrm>
          <a:off x="292358" y="1278384"/>
          <a:ext cx="8110537" cy="3656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621" y="39773"/>
            <a:ext cx="7344495" cy="789501"/>
          </a:xfrm>
        </p:spPr>
        <p:txBody>
          <a:bodyPr/>
          <a:lstStyle/>
          <a:p>
            <a:r>
              <a:rPr lang="en-US" dirty="0"/>
              <a:t>…on top of this, ~80% of Nigeria’s installed generation capacity is lost by the time it reaches the consumer</a:t>
            </a:r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>
            <a:off x="67911" y="4766459"/>
            <a:ext cx="8994775" cy="3286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Source: BMI Nigeria Power Report Q1 2016.</a:t>
            </a:r>
          </a:p>
          <a:p>
            <a:pPr>
              <a:lnSpc>
                <a:spcPct val="90000"/>
              </a:lnSpc>
            </a:pPr>
            <a:r>
              <a:rPr lang="en-US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A.F </a:t>
            </a:r>
            <a:r>
              <a:rPr lang="en-US" sz="6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Mercanos</a:t>
            </a:r>
            <a:r>
              <a:rPr lang="en-US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NESI Challenges and Way forward report 2019</a:t>
            </a:r>
          </a:p>
        </p:txBody>
      </p:sp>
      <p:cxnSp>
        <p:nvCxnSpPr>
          <p:cNvPr id="7" name="Straight Connector 6"/>
          <p:cNvCxnSpPr/>
          <p:nvPr>
            <p:custDataLst>
              <p:tags r:id="rId2"/>
            </p:custDataLst>
          </p:nvPr>
        </p:nvCxnSpPr>
        <p:spPr bwMode="gray">
          <a:xfrm>
            <a:off x="6455744" y="3646539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8" name="Straight Connector 7"/>
          <p:cNvCxnSpPr/>
          <p:nvPr>
            <p:custDataLst>
              <p:tags r:id="rId3"/>
            </p:custDataLst>
          </p:nvPr>
        </p:nvCxnSpPr>
        <p:spPr bwMode="gray">
          <a:xfrm>
            <a:off x="5611563" y="3646539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9" name="Straight Connector 8"/>
          <p:cNvCxnSpPr/>
          <p:nvPr>
            <p:custDataLst>
              <p:tags r:id="rId4"/>
            </p:custDataLst>
          </p:nvPr>
        </p:nvCxnSpPr>
        <p:spPr bwMode="gray">
          <a:xfrm>
            <a:off x="7340143" y="3789511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10" name="Straight Connector 9"/>
          <p:cNvCxnSpPr/>
          <p:nvPr>
            <p:custDataLst>
              <p:tags r:id="rId5"/>
            </p:custDataLst>
          </p:nvPr>
        </p:nvCxnSpPr>
        <p:spPr bwMode="gray">
          <a:xfrm>
            <a:off x="1270372" y="1648710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11" name="Straight Connector 10"/>
          <p:cNvCxnSpPr/>
          <p:nvPr>
            <p:custDataLst>
              <p:tags r:id="rId6"/>
            </p:custDataLst>
          </p:nvPr>
        </p:nvCxnSpPr>
        <p:spPr bwMode="gray">
          <a:xfrm>
            <a:off x="2119206" y="2512452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12" name="Straight Connector 11"/>
          <p:cNvCxnSpPr/>
          <p:nvPr>
            <p:custDataLst>
              <p:tags r:id="rId7"/>
            </p:custDataLst>
          </p:nvPr>
        </p:nvCxnSpPr>
        <p:spPr bwMode="gray">
          <a:xfrm>
            <a:off x="2970477" y="2512452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13" name="Straight Connector 12"/>
          <p:cNvCxnSpPr/>
          <p:nvPr>
            <p:custDataLst>
              <p:tags r:id="rId8"/>
            </p:custDataLst>
          </p:nvPr>
        </p:nvCxnSpPr>
        <p:spPr bwMode="gray">
          <a:xfrm>
            <a:off x="3866963" y="3379425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cxnSp>
        <p:nvCxnSpPr>
          <p:cNvPr id="14" name="Straight Connector 13"/>
          <p:cNvCxnSpPr/>
          <p:nvPr>
            <p:custDataLst>
              <p:tags r:id="rId9"/>
            </p:custDataLst>
          </p:nvPr>
        </p:nvCxnSpPr>
        <p:spPr bwMode="gray">
          <a:xfrm>
            <a:off x="4733038" y="3379425"/>
            <a:ext cx="371475" cy="0"/>
          </a:xfrm>
          <a:prstGeom prst="line">
            <a:avLst/>
          </a:prstGeom>
          <a:noFill/>
          <a:ln w="3175" cap="flat" cmpd="sng" algn="ctr">
            <a:solidFill>
              <a:srgbClr val="808080"/>
            </a:solidFill>
            <a:prstDash val="dash"/>
            <a:headEnd type="none"/>
            <a:tailEnd type="none"/>
          </a:ln>
          <a:effectLst/>
        </p:spPr>
      </p:cxnSp>
      <p:sp>
        <p:nvSpPr>
          <p:cNvPr id="16" name="Text Placeholder 16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38150" y="4547636"/>
            <a:ext cx="69850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9ED6656-D822-42B8-A673-B798687980DD}" type="datetime'''''''''''''''''''''''''''''''''''''''''''''''''''0'''''''''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17" name="Text Placeholder 187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103296" y="1160621"/>
            <a:ext cx="384175" cy="235756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14,000</a:t>
            </a:r>
          </a:p>
        </p:txBody>
      </p:sp>
      <p:sp>
        <p:nvSpPr>
          <p:cNvPr id="18" name="Text Placeholder 18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57122" y="2035140"/>
            <a:ext cx="3143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9,000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19" name="Text Placeholder 18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57121" y="2902802"/>
            <a:ext cx="31432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6,000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20" name="Text Placeholder 184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158235" y="3692387"/>
            <a:ext cx="314325" cy="206409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3,000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21" name="Text Placeholder 150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5159" y="1004343"/>
            <a:ext cx="271462" cy="182562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MW</a:t>
            </a:r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22" name="Text Placeholder 156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137043" y="4698783"/>
            <a:ext cx="681037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ransmitted to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TCN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3" name="Text Placeholder 180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294998" y="3184604"/>
            <a:ext cx="365125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4,500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24" name="Text Placeholder 155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3135808" y="4698783"/>
            <a:ext cx="974725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5F7F97-CD02-4F09-B650-DBC5FD9434FA}" type="datetime'''Gene''rat''''''ion'''' e''ff''''icien''''''cy L''oss''es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Generation efficiency Losse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5" name="Text Placeholder 154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2472192" y="4698783"/>
            <a:ext cx="525462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CF11835-3074-493F-882A-409489831B2B}" type="datetime'''''Av''''''a''il''''able'''' ca''''''paci''t''''''y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Available capacity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26" name="Text Placeholder 177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552360" y="2288048"/>
            <a:ext cx="365125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&lt;7,500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27" name="Text Placeholder 152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1452646" y="4698783"/>
            <a:ext cx="86995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3170631-8A20-4B7F-B4BC-08085D7ACCFD}" type="datetime'I''''''nsta''ll''''''ed ''''capa''ci''''ty l''''o''ss''es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nstalled capacity losses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8" name="Text Placeholder 151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22217" y="4698783"/>
            <a:ext cx="981075" cy="1524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CDCB1C7-8EED-4DB5-8014-3A1083BECF25}" type="datetime'Ins''''''t''al''''''''led'''' ''c''ap''''''a''''c''i''t''y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Installed capacity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9" name="Text Placeholder 175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795266" y="1095822"/>
            <a:ext cx="434975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13,700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0" name="Text Placeholder 17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954862" y="4698783"/>
            <a:ext cx="766762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45252BE-6A43-49FC-95A8-066DFCE863B0}" type="datetime'''T''''r''''an''s''''m''issi''o''n ''''''loss''''''es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Transmission losses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1" name="Text Placeholder 1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910172" y="4698783"/>
            <a:ext cx="533400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B9F663E-1679-4EDE-9DB9-FD7CF155A420}" type="datetime'S''''''''''''''u''p''pl''''ied to D''''''''i''''sc''o''s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Supplied to Discos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2" name="Text Placeholder 19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6694031" y="4698783"/>
            <a:ext cx="646112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0206986-1FD0-4649-A796-06DEBAA6FB94}" type="datetime'D''istrib''''''u''''t''''i''o''''''n l''o''ss''e''''s''''''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Distribution losse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3" name="Text Placeholder 20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7562393" y="4698783"/>
            <a:ext cx="898525" cy="304800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8A0BDEF-A566-4C71-A165-EA5D14FB638F}" type="datetime'Dis''t''ri''b''uted ''''t''o'''''' ''final con''s''um''e''rs'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Distributed to final consumers</a:t>
            </a:fld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4" name="Text Placeholder 23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51116" y="3583479"/>
            <a:ext cx="365125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,100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35" name="Text Placeholder 22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980130" y="3431079"/>
            <a:ext cx="365125" cy="152400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b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,600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Arial"/>
            </a:endParaRPr>
          </a:p>
        </p:txBody>
      </p:sp>
      <p:sp>
        <p:nvSpPr>
          <p:cNvPr id="36" name="Rectangle 35"/>
          <p:cNvSpPr/>
          <p:nvPr>
            <p:custDataLst>
              <p:tags r:id="rId30"/>
            </p:custDataLst>
          </p:nvPr>
        </p:nvSpPr>
        <p:spPr bwMode="gray">
          <a:xfrm>
            <a:off x="1316625" y="4457195"/>
            <a:ext cx="179388" cy="133350"/>
          </a:xfrm>
          <a:prstGeom prst="rect">
            <a:avLst/>
          </a:prstGeom>
          <a:solidFill>
            <a:srgbClr val="248059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37" name="Text Placeholder 174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1546813" y="4454020"/>
            <a:ext cx="371475" cy="152400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09B4615-28D7-4312-897F-C430B0117DBA}" type="datetime'''''''''''G''''''e''''n''''''''''''''''''''c''o'''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Genco</a:t>
            </a:fld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8" name="Rectangular Callout 37"/>
          <p:cNvSpPr/>
          <p:nvPr/>
        </p:nvSpPr>
        <p:spPr>
          <a:xfrm>
            <a:off x="3721794" y="2060067"/>
            <a:ext cx="2322956" cy="927701"/>
          </a:xfrm>
          <a:prstGeom prst="wedgeRectCallout">
            <a:avLst>
              <a:gd name="adj1" fmla="val -56245"/>
              <a:gd name="adj2" fmla="val 80734"/>
            </a:avLst>
          </a:prstGeom>
          <a:solidFill>
            <a:schemeClr val="bg2">
              <a:lumMod val="95000"/>
            </a:schemeClr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ilable capacity losses are mainly due to: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ufficient gas supply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adequate infrastructure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Vandalism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ne constraints due to inadequate transmission infrastructure</a:t>
            </a:r>
          </a:p>
        </p:txBody>
      </p:sp>
      <p:sp>
        <p:nvSpPr>
          <p:cNvPr id="39" name="Rectangular Callout 38"/>
          <p:cNvSpPr/>
          <p:nvPr/>
        </p:nvSpPr>
        <p:spPr>
          <a:xfrm>
            <a:off x="2322596" y="1125647"/>
            <a:ext cx="2242702" cy="823546"/>
          </a:xfrm>
          <a:prstGeom prst="wedgeRectCallout">
            <a:avLst>
              <a:gd name="adj1" fmla="val -63637"/>
              <a:gd name="adj2" fmla="val 89506"/>
            </a:avLst>
          </a:prstGeom>
          <a:solidFill>
            <a:schemeClr val="bg2">
              <a:lumMod val="95000"/>
            </a:schemeClr>
          </a:solidFill>
          <a:ln w="9525" cap="flat" cmpd="sng" algn="ctr">
            <a:solidFill>
              <a:srgbClr val="E2E2E2"/>
            </a:solidFill>
            <a:prstDash val="solid"/>
          </a:ln>
          <a:effectLst/>
        </p:spPr>
        <p:txBody>
          <a:bodyPr tIns="90000" bIns="90000" rtlCol="0" anchor="ctr" anchorCtr="0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 typeface=""/>
              <a:buNone/>
              <a:tabLst/>
              <a:defRPr/>
            </a:pPr>
            <a:r>
              <a:rPr kumimoji="0" 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talled capacity losses are primarily driven by: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ging equipment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tenance systems and culture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sufficient funding</a:t>
            </a:r>
          </a:p>
          <a:p>
            <a:pPr marL="288925" marR="0" lvl="1" indent="-174625" defTabSz="91440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7B57"/>
              </a:buClr>
              <a:buSzPct val="100000"/>
              <a:buFont typeface="Arial"/>
              <a:buChar char="•"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inning reserve</a:t>
            </a:r>
            <a:endParaRPr kumimoji="0" lang="en-GB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6400423" y="1472750"/>
            <a:ext cx="2513939" cy="2125932"/>
            <a:chOff x="6400423" y="1472750"/>
            <a:chExt cx="2513939" cy="2125932"/>
          </a:xfrm>
          <a:solidFill>
            <a:schemeClr val="bg2">
              <a:lumMod val="95000"/>
            </a:schemeClr>
          </a:solidFill>
        </p:grpSpPr>
        <p:sp>
          <p:nvSpPr>
            <p:cNvPr id="42" name="Rectangular Callout 41"/>
            <p:cNvSpPr/>
            <p:nvPr/>
          </p:nvSpPr>
          <p:spPr>
            <a:xfrm>
              <a:off x="6400423" y="1472750"/>
              <a:ext cx="2513939" cy="1240873"/>
            </a:xfrm>
            <a:prstGeom prst="wedgeRectCallout">
              <a:avLst>
                <a:gd name="adj1" fmla="val -86693"/>
                <a:gd name="adj2" fmla="val 112349"/>
              </a:avLst>
            </a:prstGeom>
            <a:grpFill/>
            <a:ln w="9525" cap="flat" cmpd="sng" algn="ctr">
              <a:solidFill>
                <a:srgbClr val="E2E2E2"/>
              </a:solidFill>
              <a:prstDash val="solid"/>
            </a:ln>
            <a:effectLst/>
          </p:spPr>
          <p:txBody>
            <a:bodyPr tIns="90000" bIns="90000" rtlCol="0" anchor="ctr" anchorCtr="0"/>
            <a:lstStyle/>
            <a:p>
              <a:pPr lvl="0" fontAlgn="base">
                <a:buClr>
                  <a:srgbClr val="000000"/>
                </a:buClr>
                <a:buSzPct val="100000"/>
                <a:defRPr/>
              </a:pPr>
              <a:r>
                <a:rPr lang="en-US" sz="800" b="1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osses are primarily driven by:</a:t>
              </a:r>
            </a:p>
            <a:p>
              <a:pPr marL="288925" lvl="1" indent="-174625" fontAlgn="base">
                <a:buClr>
                  <a:srgbClr val="177B57"/>
                </a:buClr>
                <a:buSzPct val="100000"/>
                <a:buFont typeface="Arial"/>
                <a:buChar char="•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Aging equipment, and poor maintenance </a:t>
              </a:r>
            </a:p>
            <a:p>
              <a:pPr marL="288925" lvl="1" indent="-174625" fontAlgn="base">
                <a:buClr>
                  <a:srgbClr val="177B57"/>
                </a:buClr>
                <a:buSzPct val="100000"/>
                <a:buFont typeface="Arial"/>
                <a:buChar char="•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adequate/Aged transmission networks (330Kv, 132Kv, 33Kv and 11Kv lines)</a:t>
              </a:r>
            </a:p>
            <a:p>
              <a:pPr marL="288925" lvl="1" indent="-174625" fontAlgn="base">
                <a:buClr>
                  <a:srgbClr val="177B57"/>
                </a:buClr>
                <a:buSzPct val="100000"/>
                <a:buFont typeface="Arial"/>
                <a:buChar char="•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Insufficient funding</a:t>
              </a:r>
            </a:p>
            <a:p>
              <a:pPr marL="288925" lvl="1" indent="-174625" fontAlgn="base">
                <a:buClr>
                  <a:srgbClr val="177B57"/>
                </a:buClr>
                <a:buSzPct val="100000"/>
                <a:buFont typeface="Arial"/>
                <a:buChar char="•"/>
                <a:defRPr/>
              </a:pPr>
              <a:r>
                <a:rPr lang="en-US" sz="800" kern="0" dirty="0">
                  <a:solidFill>
                    <a:srgbClr val="000000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Transmission losses</a:t>
              </a:r>
              <a:endParaRPr lang="en-GB" sz="800" kern="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5" name="Freeform 4"/>
            <p:cNvSpPr/>
            <p:nvPr/>
          </p:nvSpPr>
          <p:spPr bwMode="auto">
            <a:xfrm>
              <a:off x="6968647" y="2703933"/>
              <a:ext cx="903044" cy="894749"/>
            </a:xfrm>
            <a:custGeom>
              <a:avLst/>
              <a:gdLst>
                <a:gd name="connsiteX0" fmla="*/ 428878 w 809204"/>
                <a:gd name="connsiteY0" fmla="*/ 0 h 712099"/>
                <a:gd name="connsiteX1" fmla="*/ 809204 w 809204"/>
                <a:gd name="connsiteY1" fmla="*/ 0 h 712099"/>
                <a:gd name="connsiteX2" fmla="*/ 0 w 809204"/>
                <a:gd name="connsiteY2" fmla="*/ 712099 h 712099"/>
                <a:gd name="connsiteX3" fmla="*/ 428878 w 809204"/>
                <a:gd name="connsiteY3" fmla="*/ 0 h 7120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09204" h="712099">
                  <a:moveTo>
                    <a:pt x="428878" y="0"/>
                  </a:moveTo>
                  <a:lnTo>
                    <a:pt x="809204" y="0"/>
                  </a:lnTo>
                  <a:lnTo>
                    <a:pt x="0" y="712099"/>
                  </a:lnTo>
                  <a:lnTo>
                    <a:pt x="428878" y="0"/>
                  </a:lnTo>
                  <a:close/>
                </a:path>
              </a:pathLst>
            </a:custGeom>
            <a:grpFill/>
            <a:ln w="190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62000" tIns="139700" rIns="44450" bIns="139700" rtlCol="0" anchor="ctr" anchorCtr="0">
              <a:noAutofit/>
            </a:bodyPr>
            <a:lstStyle/>
            <a:p>
              <a:pPr algn="ctr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92362007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5"/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7695661" y="1306247"/>
            <a:ext cx="387350" cy="27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rgbClr val="E3701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00%</a:t>
            </a:r>
            <a:endParaRPr lang="en-GB" sz="1800" b="1" dirty="0">
              <a:solidFill>
                <a:srgbClr val="E37012"/>
              </a:solidFill>
              <a:latin typeface="Verdana" pitchFamily="34" charset="0"/>
              <a:ea typeface="Verdana" pitchFamily="34" charset="0"/>
              <a:cs typeface="Verdana" pitchFamily="34" charset="0"/>
              <a:sym typeface="Calibri" panose="020F0502020204030204" pitchFamily="34" charset="0"/>
            </a:endParaRPr>
          </a:p>
        </p:txBody>
      </p:sp>
      <p:sp>
        <p:nvSpPr>
          <p:cNvPr id="19" name="Text Placeholder 1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3677645" y="3540736"/>
            <a:ext cx="896702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  <a:t>Off-grid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14738" y="4927005"/>
            <a:ext cx="3876127" cy="2885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13952" indent="-213952"/>
            <a:r>
              <a:rPr lang="en-US" sz="8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Source:  </a:t>
            </a:r>
            <a:r>
              <a:rPr lang="en-US" sz="800" dirty="0">
                <a:latin typeface="Verdana" pitchFamily="34" charset="0"/>
                <a:ea typeface="Verdana" pitchFamily="34" charset="0"/>
                <a:cs typeface="Verdana" pitchFamily="34" charset="0"/>
              </a:rPr>
              <a:t>Dalberg analysis, 2015</a:t>
            </a:r>
          </a:p>
        </p:txBody>
      </p:sp>
      <p:sp>
        <p:nvSpPr>
          <p:cNvPr id="26" name="Text Placeholder 1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6399327" y="4091813"/>
            <a:ext cx="896702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  <a:t>On-grid</a:t>
            </a:r>
          </a:p>
        </p:txBody>
      </p:sp>
      <p:sp>
        <p:nvSpPr>
          <p:cNvPr id="27" name="Text Placeholder 1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5148099" y="4079855"/>
            <a:ext cx="896702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  <a:t>Bad-grid</a:t>
            </a:r>
            <a:b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</a:b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  <a:t>(&lt;4 hours)</a:t>
            </a:r>
          </a:p>
        </p:txBody>
      </p:sp>
      <p:sp>
        <p:nvSpPr>
          <p:cNvPr id="28" name="Text Placeholder 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450129" y="4091813"/>
            <a:ext cx="896702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b="1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  <a:t>Total</a:t>
            </a:r>
          </a:p>
        </p:txBody>
      </p:sp>
      <p:sp>
        <p:nvSpPr>
          <p:cNvPr id="31" name="Rectangle 30"/>
          <p:cNvSpPr/>
          <p:nvPr/>
        </p:nvSpPr>
        <p:spPr>
          <a:xfrm>
            <a:off x="3877921" y="3123590"/>
            <a:ext cx="773723" cy="931985"/>
          </a:xfrm>
          <a:prstGeom prst="rect">
            <a:avLst/>
          </a:prstGeom>
          <a:solidFill>
            <a:srgbClr val="2480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4</a:t>
            </a:r>
          </a:p>
        </p:txBody>
      </p:sp>
      <p:sp>
        <p:nvSpPr>
          <p:cNvPr id="32" name="Rectangle 31"/>
          <p:cNvSpPr/>
          <p:nvPr/>
        </p:nvSpPr>
        <p:spPr>
          <a:xfrm>
            <a:off x="5200212" y="2242530"/>
            <a:ext cx="773723" cy="890966"/>
          </a:xfrm>
          <a:prstGeom prst="rect">
            <a:avLst/>
          </a:prstGeom>
          <a:solidFill>
            <a:srgbClr val="55A6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14</a:t>
            </a:r>
          </a:p>
        </p:txBody>
      </p:sp>
      <p:sp>
        <p:nvSpPr>
          <p:cNvPr id="33" name="Rectangle 32"/>
          <p:cNvSpPr/>
          <p:nvPr/>
        </p:nvSpPr>
        <p:spPr>
          <a:xfrm>
            <a:off x="6516389" y="1649560"/>
            <a:ext cx="773723" cy="59276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9</a:t>
            </a:r>
          </a:p>
        </p:txBody>
      </p:sp>
      <p:sp>
        <p:nvSpPr>
          <p:cNvPr id="34" name="Rectangle 33"/>
          <p:cNvSpPr/>
          <p:nvPr/>
        </p:nvSpPr>
        <p:spPr>
          <a:xfrm>
            <a:off x="7510929" y="1639813"/>
            <a:ext cx="773723" cy="2415708"/>
          </a:xfrm>
          <a:prstGeom prst="rect">
            <a:avLst/>
          </a:prstGeom>
          <a:solidFill>
            <a:srgbClr val="E370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GB" sz="14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7</a:t>
            </a:r>
          </a:p>
        </p:txBody>
      </p:sp>
      <p:sp>
        <p:nvSpPr>
          <p:cNvPr id="35" name="Text Placeholder 95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709575" y="1324916"/>
            <a:ext cx="387350" cy="27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accent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25%</a:t>
            </a:r>
            <a:endParaRPr lang="en-GB" sz="1800" b="1" dirty="0">
              <a:solidFill>
                <a:schemeClr val="accent1"/>
              </a:solidFill>
              <a:latin typeface="Verdana" pitchFamily="34" charset="0"/>
              <a:ea typeface="Verdana" pitchFamily="34" charset="0"/>
              <a:cs typeface="Verdana" pitchFamily="34" charset="0"/>
              <a:sym typeface="Calibri" panose="020F0502020204030204" pitchFamily="34" charset="0"/>
            </a:endParaRPr>
          </a:p>
        </p:txBody>
      </p:sp>
      <p:sp>
        <p:nvSpPr>
          <p:cNvPr id="36" name="Text Placeholder 9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460196" y="1932840"/>
            <a:ext cx="254804" cy="2725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accent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7%</a:t>
            </a:r>
            <a:endParaRPr lang="en-GB" sz="1800" b="1" dirty="0">
              <a:solidFill>
                <a:schemeClr val="accent2"/>
              </a:solidFill>
              <a:latin typeface="Verdana" pitchFamily="34" charset="0"/>
              <a:ea typeface="Verdana" pitchFamily="34" charset="0"/>
              <a:cs typeface="Verdana" pitchFamily="34" charset="0"/>
              <a:sym typeface="Calibri" panose="020F0502020204030204" pitchFamily="34" charset="0"/>
            </a:endParaRPr>
          </a:p>
        </p:txBody>
      </p:sp>
      <p:sp>
        <p:nvSpPr>
          <p:cNvPr id="37" name="Text Placeholder 95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121917" y="2784696"/>
            <a:ext cx="387350" cy="273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2225" tIns="0" rIns="22225" bIns="0" numCol="1" spcCol="0" anchor="b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US" sz="1800" b="1" dirty="0">
                <a:solidFill>
                  <a:schemeClr val="accent5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38%</a:t>
            </a:r>
            <a:endParaRPr lang="en-GB" sz="1800" b="1" dirty="0">
              <a:solidFill>
                <a:schemeClr val="accent5"/>
              </a:solidFill>
              <a:latin typeface="Verdana" pitchFamily="34" charset="0"/>
              <a:ea typeface="Verdana" pitchFamily="34" charset="0"/>
              <a:cs typeface="Verdana" pitchFamily="34" charset="0"/>
              <a:sym typeface="Calibri" panose="020F0502020204030204" pitchFamily="34" charset="0"/>
            </a:endParaRPr>
          </a:p>
        </p:txBody>
      </p:sp>
      <p:sp>
        <p:nvSpPr>
          <p:cNvPr id="38" name="Line Callout 1 37"/>
          <p:cNvSpPr/>
          <p:nvPr/>
        </p:nvSpPr>
        <p:spPr>
          <a:xfrm>
            <a:off x="5973502" y="2765241"/>
            <a:ext cx="1537427" cy="935039"/>
          </a:xfrm>
          <a:prstGeom prst="borderCallout1">
            <a:avLst>
              <a:gd name="adj1" fmla="val 30642"/>
              <a:gd name="adj2" fmla="val -611"/>
              <a:gd name="adj3" fmla="val 20331"/>
              <a:gd name="adj4" fmla="val -21910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r>
              <a:rPr lang="en-US" sz="9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e define ‘bad-grid’ </a:t>
            </a:r>
            <a:br>
              <a:rPr lang="en-US" sz="9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9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&lt;4 hours per day of electricity (increasing </a:t>
            </a:r>
            <a:br>
              <a:rPr lang="en-US" sz="9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</a:br>
            <a:r>
              <a:rPr lang="en-US" sz="9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he band to &lt;6 hours increases ‘bad grid’ materially)</a:t>
            </a:r>
            <a:endParaRPr lang="en-GB" sz="900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342558" y="4055521"/>
            <a:ext cx="4964723" cy="0"/>
          </a:xfrm>
          <a:prstGeom prst="line">
            <a:avLst/>
          </a:prstGeom>
          <a:ln>
            <a:solidFill>
              <a:schemeClr val="bg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>
            <a:off x="4633356" y="3120580"/>
            <a:ext cx="576000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5940389" y="2242329"/>
            <a:ext cx="576000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6932135" y="1649560"/>
            <a:ext cx="576000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114738" y="210312"/>
            <a:ext cx="7393397" cy="600674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result is that approximately 70% of Nigerian households are either totally off-grid or have a ‘bad grid’ connection with less than 4 hours of electricity per day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40" name="Picture 3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067" y="1666746"/>
            <a:ext cx="2991149" cy="2698466"/>
          </a:xfrm>
          <a:prstGeom prst="rect">
            <a:avLst/>
          </a:prstGeom>
        </p:spPr>
      </p:pic>
      <p:sp>
        <p:nvSpPr>
          <p:cNvPr id="25" name="Text Placeholder 1">
            <a:extLst>
              <a:ext uri="{FF2B5EF4-FFF2-40B4-BE49-F238E27FC236}">
                <a16:creationId xmlns:a16="http://schemas.microsoft.com/office/drawing/2014/main" id="{07B8DA20-63E8-435E-860E-B570C3B4082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836863" y="4079855"/>
            <a:ext cx="896702" cy="1595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207995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17415" indent="-209420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588" indent="-195174" algn="l" defTabSz="914293" rtl="0" eaLnBrk="1" latinLnBrk="0" hangingPunct="1">
              <a:spcBef>
                <a:spcPct val="20000"/>
              </a:spcBef>
              <a:buFont typeface="Courier New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20583" indent="-207995" algn="l" defTabSz="914293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15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30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453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599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746" indent="-228573" algn="l" defTabSz="91429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  <a:t>Off-grid</a:t>
            </a:r>
            <a:br>
              <a:rPr lang="en-GB" sz="1000" dirty="0">
                <a:solidFill>
                  <a:schemeClr val="bg2">
                    <a:lumMod val="10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  <a:sym typeface="+mn-lt"/>
              </a:rPr>
            </a:br>
            <a:endParaRPr lang="en-GB" sz="1000" dirty="0">
              <a:solidFill>
                <a:schemeClr val="bg2">
                  <a:lumMod val="10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  <a:sym typeface="+mn-lt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EBE4494F-B982-49EE-A0E0-93ACFBE39B57}"/>
              </a:ext>
            </a:extLst>
          </p:cNvPr>
          <p:cNvSpPr txBox="1"/>
          <p:nvPr/>
        </p:nvSpPr>
        <p:spPr>
          <a:xfrm>
            <a:off x="3877921" y="1067921"/>
            <a:ext cx="4524633" cy="2885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13952" indent="-213952"/>
            <a:r>
              <a:rPr lang="en-US" sz="12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Number of HH in Nigeria, By Connectivity (2015)</a:t>
            </a:r>
          </a:p>
          <a:p>
            <a:pPr marL="213952" indent="-213952"/>
            <a:r>
              <a:rPr lang="en-US" sz="1200" dirty="0">
                <a:latin typeface="Verdana" pitchFamily="34" charset="0"/>
                <a:ea typeface="Verdana" pitchFamily="34" charset="0"/>
                <a:cs typeface="Verdana" pitchFamily="34" charset="0"/>
              </a:rPr>
              <a:t>millions, </a:t>
            </a:r>
          </a:p>
        </p:txBody>
      </p:sp>
    </p:spTree>
    <p:extLst>
      <p:ext uri="{BB962C8B-B14F-4D97-AF65-F5344CB8AC3E}">
        <p14:creationId xmlns:p14="http://schemas.microsoft.com/office/powerpoint/2010/main" val="145815926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FA3ECD-6E9D-44A2-96DC-C0BA7F152D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energy gap in Nigeria is the foundation for so many of the country’s economic and social development problems 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62E44DF-DE99-4B3D-AB6A-2C4422078F1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61841675"/>
              </p:ext>
            </p:extLst>
          </p:nvPr>
        </p:nvGraphicFramePr>
        <p:xfrm>
          <a:off x="406621" y="575966"/>
          <a:ext cx="8381779" cy="3516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EACF7457-3762-4F9B-9EE9-60CA695CF536}"/>
              </a:ext>
            </a:extLst>
          </p:cNvPr>
          <p:cNvGrpSpPr/>
          <p:nvPr/>
        </p:nvGrpSpPr>
        <p:grpSpPr>
          <a:xfrm>
            <a:off x="491498" y="4032345"/>
            <a:ext cx="8212023" cy="891540"/>
            <a:chOff x="1194519" y="3670670"/>
            <a:chExt cx="6908308" cy="262105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E80765B1-509C-4127-8AB3-EA72D2DC9D9E}"/>
                </a:ext>
              </a:extLst>
            </p:cNvPr>
            <p:cNvSpPr txBox="1"/>
            <p:nvPr/>
          </p:nvSpPr>
          <p:spPr>
            <a:xfrm>
              <a:off x="1194519" y="3670670"/>
              <a:ext cx="1243424" cy="2604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87 </a:t>
              </a:r>
              <a:b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 of 190</a:t>
              </a:r>
            </a:p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HO World Health Systems Report, </a:t>
              </a:r>
              <a:b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17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8E3F7B22-FDFD-459A-B6FA-B7CE3F5CE5D1}"/>
                </a:ext>
              </a:extLst>
            </p:cNvPr>
            <p:cNvSpPr txBox="1"/>
            <p:nvPr/>
          </p:nvSpPr>
          <p:spPr>
            <a:xfrm>
              <a:off x="2363826" y="3670670"/>
              <a:ext cx="1177051" cy="2604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15th </a:t>
              </a:r>
              <a:b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 of 140</a:t>
              </a:r>
            </a:p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EF </a:t>
              </a:r>
              <a:b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Competitiveness Index, 2018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1ED3282-1E45-45DE-A304-A758FE402C34}"/>
                </a:ext>
              </a:extLst>
            </p:cNvPr>
            <p:cNvSpPr txBox="1"/>
            <p:nvPr/>
          </p:nvSpPr>
          <p:spPr>
            <a:xfrm>
              <a:off x="3588085" y="3670670"/>
              <a:ext cx="1012301" cy="2604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45 </a:t>
              </a:r>
              <a:b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 of 149</a:t>
              </a:r>
            </a:p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egatum Prosperity Index 2018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B393988-2753-4900-98A7-D170FA65143B}"/>
                </a:ext>
              </a:extLst>
            </p:cNvPr>
            <p:cNvSpPr txBox="1"/>
            <p:nvPr/>
          </p:nvSpPr>
          <p:spPr>
            <a:xfrm>
              <a:off x="4746916" y="3670670"/>
              <a:ext cx="1012301" cy="2604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04th </a:t>
              </a:r>
              <a:b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 of 149</a:t>
              </a:r>
            </a:p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egatum Prosperity Index, 2018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E0D3C74-194D-47BE-8CA4-4167A8D38A2B}"/>
                </a:ext>
              </a:extLst>
            </p:cNvPr>
            <p:cNvSpPr txBox="1"/>
            <p:nvPr/>
          </p:nvSpPr>
          <p:spPr>
            <a:xfrm>
              <a:off x="5806424" y="3672361"/>
              <a:ext cx="1012301" cy="2604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3</a:t>
              </a:r>
              <a:r>
                <a:rPr lang="en-US" sz="1000" b="1" baseline="30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d</a:t>
              </a: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b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 of 149</a:t>
              </a:r>
            </a:p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Legatum Prosperity Index, 2018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460468-9834-4B89-8ECB-B6406476E21A}"/>
                </a:ext>
              </a:extLst>
            </p:cNvPr>
            <p:cNvSpPr txBox="1"/>
            <p:nvPr/>
          </p:nvSpPr>
          <p:spPr>
            <a:xfrm>
              <a:off x="6819095" y="3672361"/>
              <a:ext cx="1283732" cy="26041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87 </a:t>
              </a:r>
              <a:b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out of 190</a:t>
              </a:r>
            </a:p>
            <a:p>
              <a:pPr algn="ctr">
                <a:lnSpc>
                  <a:spcPct val="113000"/>
                </a:lnSpc>
                <a:spcAft>
                  <a:spcPts val="60"/>
                </a:spcAft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Global Food </a:t>
              </a:r>
              <a:b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curity Index, </a:t>
              </a:r>
              <a:b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018</a:t>
              </a:r>
            </a:p>
          </p:txBody>
        </p:sp>
      </p:grpSp>
      <p:pic>
        <p:nvPicPr>
          <p:cNvPr id="2050" name="Picture 2" descr="Image result for legatum institute">
            <a:extLst>
              <a:ext uri="{FF2B5EF4-FFF2-40B4-BE49-F238E27FC236}">
                <a16:creationId xmlns:a16="http://schemas.microsoft.com/office/drawing/2014/main" id="{37318D5C-8730-487D-8E77-D1C254513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3370" y="1311693"/>
            <a:ext cx="572552" cy="57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Image result for legatum institute">
            <a:extLst>
              <a:ext uri="{FF2B5EF4-FFF2-40B4-BE49-F238E27FC236}">
                <a16:creationId xmlns:a16="http://schemas.microsoft.com/office/drawing/2014/main" id="{C5D9E60C-4184-42A2-B81A-876FC1B579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5882" y="1311693"/>
            <a:ext cx="572552" cy="57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Image result for legatum institute">
            <a:extLst>
              <a:ext uri="{FF2B5EF4-FFF2-40B4-BE49-F238E27FC236}">
                <a16:creationId xmlns:a16="http://schemas.microsoft.com/office/drawing/2014/main" id="{E87BCEEC-F89B-4386-AB48-59A56CBAAE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6184" y="1311693"/>
            <a:ext cx="572552" cy="57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F3C045B-02B6-469B-A6D5-0C994CFE13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0556" y="1312966"/>
            <a:ext cx="572552" cy="57000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D25714-1DA7-40CE-B030-A1D6BA0266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11867" y="1312966"/>
            <a:ext cx="542744" cy="570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3FFAAE3-C541-4831-99AC-8B3E4BD4BA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60053" y="1323501"/>
            <a:ext cx="958704" cy="548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79505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24662" y="2227383"/>
            <a:ext cx="3581399" cy="50470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113000"/>
              </a:lnSpc>
              <a:spcAft>
                <a:spcPts val="60"/>
              </a:spcAft>
            </a:pPr>
            <a:r>
              <a:rPr lang="en-GB" sz="3000" dirty="0">
                <a:solidFill>
                  <a:schemeClr val="bg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What is the opportunity?</a:t>
            </a:r>
          </a:p>
        </p:txBody>
      </p:sp>
    </p:spTree>
    <p:extLst>
      <p:ext uri="{BB962C8B-B14F-4D97-AF65-F5344CB8AC3E}">
        <p14:creationId xmlns:p14="http://schemas.microsoft.com/office/powerpoint/2010/main" val="63411061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6622" y="45790"/>
            <a:ext cx="7638624" cy="78950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e significant energy access gap in Nigeria means the opportunities to address the gap are also considerable  </a:t>
            </a:r>
          </a:p>
        </p:txBody>
      </p:sp>
      <p:sp>
        <p:nvSpPr>
          <p:cNvPr id="13" name="AutoShape 2"/>
          <p:cNvSpPr>
            <a:spLocks noChangeArrowheads="1"/>
          </p:cNvSpPr>
          <p:nvPr/>
        </p:nvSpPr>
        <p:spPr bwMode="gray">
          <a:xfrm>
            <a:off x="4462403" y="1609356"/>
            <a:ext cx="370178" cy="3200400"/>
          </a:xfrm>
          <a:prstGeom prst="homePlate">
            <a:avLst>
              <a:gd name="adj" fmla="val 71009"/>
            </a:avLst>
          </a:prstGeom>
          <a:solidFill>
            <a:srgbClr val="8D3C3C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49125" y="1232763"/>
            <a:ext cx="4132384" cy="3439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>
              <a:lnSpc>
                <a:spcPct val="113000"/>
              </a:lnSpc>
              <a:spcAft>
                <a:spcPts val="60"/>
              </a:spcAft>
            </a:pPr>
            <a:r>
              <a:rPr lang="en-US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llenge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008879" y="1232763"/>
            <a:ext cx="3931920" cy="3439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 algn="ctr" defTabSz="914378">
              <a:defRPr/>
            </a:pPr>
            <a:r>
              <a:rPr lang="en-US" b="1" dirty="0">
                <a:solidFill>
                  <a:srgbClr val="E370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portunit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6DD156-0FC2-4B1F-B275-299AFD626372}"/>
              </a:ext>
            </a:extLst>
          </p:cNvPr>
          <p:cNvSpPr/>
          <p:nvPr/>
        </p:nvSpPr>
        <p:spPr>
          <a:xfrm>
            <a:off x="249124" y="1609356"/>
            <a:ext cx="4132385" cy="3200400"/>
          </a:xfrm>
          <a:prstGeom prst="rect">
            <a:avLst/>
          </a:prstGeom>
          <a:solidFill>
            <a:schemeClr val="accent1">
              <a:lumMod val="20000"/>
              <a:lumOff val="8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297856" y="3916842"/>
            <a:ext cx="3750242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914378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60 million generators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esel/petrol solutions fill the gap, emitting 5-7 million MT of CO2 annually;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297855" y="3105170"/>
            <a:ext cx="3852249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914378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20 million people affected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ly India has a larger off grid/ bad grid population; 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297855" y="2478164"/>
            <a:ext cx="4054227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914378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0% of households &amp; SME’s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ither off grid or bad grid (&lt;4 </a:t>
            </a:r>
            <a:r>
              <a:rPr lang="en-US" sz="12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rs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er day);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297855" y="1666492"/>
            <a:ext cx="4054227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0" indent="-171446" defTabSz="914378">
              <a:spcAft>
                <a:spcPts val="3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30GW to 175GW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ze of energy gap which would cost </a:t>
            </a:r>
            <a:b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$40-200 billion to addres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B6DD156-0FC2-4B1F-B275-299AFD626372}"/>
              </a:ext>
            </a:extLst>
          </p:cNvPr>
          <p:cNvSpPr/>
          <p:nvPr/>
        </p:nvSpPr>
        <p:spPr>
          <a:xfrm>
            <a:off x="5008879" y="1609356"/>
            <a:ext cx="3931920" cy="3200400"/>
          </a:xfrm>
          <a:prstGeom prst="rect">
            <a:avLst/>
          </a:prstGeom>
          <a:solidFill>
            <a:srgbClr val="E37012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17145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37012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5089774" y="4129769"/>
            <a:ext cx="3609726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0" indent="-171446" defTabSz="914378">
              <a:spcAft>
                <a:spcPts val="300"/>
              </a:spcAft>
              <a:buClr>
                <a:srgbClr val="E37012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E370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 willingness to pay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.5x India $ 2x East Africa;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5089773" y="3431788"/>
            <a:ext cx="3609727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37012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E370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10 million SHS units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imated market size for Nigeria;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5089773" y="2549140"/>
            <a:ext cx="3341486" cy="7463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lvl="0" indent="-171446" defTabSz="914378">
              <a:spcAft>
                <a:spcPts val="300"/>
              </a:spcAft>
              <a:buClr>
                <a:srgbClr val="E37012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E370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$10 billion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mediate investment opportunity in </a:t>
            </a:r>
            <a:r>
              <a:rPr lang="en-US" sz="12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grids</a:t>
            </a:r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;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2A74DDC-4A09-4262-8287-7841021FADEB}"/>
              </a:ext>
            </a:extLst>
          </p:cNvPr>
          <p:cNvSpPr/>
          <p:nvPr/>
        </p:nvSpPr>
        <p:spPr>
          <a:xfrm>
            <a:off x="5089773" y="1666492"/>
            <a:ext cx="3841575" cy="9310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46" indent="-171446" defTabSz="914378">
              <a:spcAft>
                <a:spcPts val="300"/>
              </a:spcAft>
              <a:buClr>
                <a:srgbClr val="E37012"/>
              </a:buClr>
              <a:buFont typeface="Arial" panose="020B0604020202020204" pitchFamily="34" charset="0"/>
              <a:buChar char="•"/>
              <a:defRPr/>
            </a:pPr>
            <a:r>
              <a:rPr lang="en-US" sz="1600" b="1" dirty="0">
                <a:solidFill>
                  <a:srgbClr val="E3701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$20 billion</a:t>
            </a:r>
          </a:p>
          <a:p>
            <a:r>
              <a:rPr lang="en-US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ount Nigerians already spend on alternative energy solutions – 10x the grid;</a:t>
            </a:r>
          </a:p>
        </p:txBody>
      </p:sp>
      <p:pic>
        <p:nvPicPr>
          <p:cNvPr id="17" name="Picture 16" descr="All On Logo.png">
            <a:extLst>
              <a:ext uri="{FF2B5EF4-FFF2-40B4-BE49-F238E27FC236}">
                <a16:creationId xmlns:a16="http://schemas.microsoft.com/office/drawing/2014/main" id="{C20E5923-D7C5-4618-A6B3-1A88D6E46C4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120170" y="125717"/>
            <a:ext cx="889961" cy="451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4153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8" grpId="0"/>
      <p:bldP spid="23" grpId="0"/>
      <p:bldP spid="22" grpId="0" animBg="1"/>
      <p:bldP spid="6" grpId="0"/>
      <p:bldP spid="25" grpId="0"/>
      <p:bldP spid="26" grpId="0"/>
      <p:bldP spid="27" grpId="0"/>
      <p:bldP spid="31" grpId="0" animBg="1"/>
      <p:bldP spid="32" grpId="0"/>
      <p:bldP spid="33" grpId="0"/>
      <p:bldP spid="34" grpId="0"/>
      <p:bldP spid="3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8E11B8DF-0ED1-4DB0-9664-A4B7EB92DB1A}"/>
              </a:ext>
            </a:extLst>
          </p:cNvPr>
          <p:cNvSpPr/>
          <p:nvPr/>
        </p:nvSpPr>
        <p:spPr>
          <a:xfrm>
            <a:off x="3865044" y="1437511"/>
            <a:ext cx="1712682" cy="3654148"/>
          </a:xfrm>
          <a:prstGeom prst="rect">
            <a:avLst/>
          </a:prstGeom>
          <a:solidFill>
            <a:schemeClr val="accent2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3F6B94C-8C50-422E-8243-6CC8A6A2E0B3}"/>
              </a:ext>
            </a:extLst>
          </p:cNvPr>
          <p:cNvSpPr/>
          <p:nvPr/>
        </p:nvSpPr>
        <p:spPr>
          <a:xfrm>
            <a:off x="7362739" y="1437511"/>
            <a:ext cx="1712682" cy="3654148"/>
          </a:xfrm>
          <a:prstGeom prst="rect">
            <a:avLst/>
          </a:prstGeom>
          <a:solidFill>
            <a:schemeClr val="accent2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DD3FDFE7-C019-4F85-8543-D90330E8B474}"/>
              </a:ext>
            </a:extLst>
          </p:cNvPr>
          <p:cNvSpPr/>
          <p:nvPr/>
        </p:nvSpPr>
        <p:spPr>
          <a:xfrm>
            <a:off x="383119" y="1447202"/>
            <a:ext cx="1712682" cy="3654148"/>
          </a:xfrm>
          <a:prstGeom prst="rect">
            <a:avLst/>
          </a:prstGeom>
          <a:solidFill>
            <a:schemeClr val="accent2">
              <a:lumMod val="40000"/>
              <a:lumOff val="60000"/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5D985EA-AB1F-4886-994D-3D28D1C39E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621" y="45789"/>
            <a:ext cx="7709565" cy="789501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Rising private sector interest, increased government support and improved regulation make off grid energy businesses attractive across multiple existing and emerging segments</a:t>
            </a: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1F57D808-1AB1-47EB-B71E-D1419F036BCF}"/>
              </a:ext>
            </a:extLst>
          </p:cNvPr>
          <p:cNvSpPr/>
          <p:nvPr/>
        </p:nvSpPr>
        <p:spPr>
          <a:xfrm>
            <a:off x="383119" y="1072744"/>
            <a:ext cx="1712682" cy="411480"/>
          </a:xfrm>
          <a:prstGeom prst="rect">
            <a:avLst/>
          </a:prstGeom>
          <a:solidFill>
            <a:srgbClr val="55A6B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5920" tIns="65920" rIns="65920" bIns="65920" numCol="1" spcCol="1270" anchor="ctr" anchorCtr="0">
            <a:noAutofit/>
          </a:bodyPr>
          <a:lstStyle/>
          <a:p>
            <a:pPr marL="0" lvl="0" indent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50" b="1" kern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dependent Power Producers </a:t>
            </a: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04310770-78A0-447A-86BD-48BCEBF446AA}"/>
              </a:ext>
            </a:extLst>
          </p:cNvPr>
          <p:cNvSpPr/>
          <p:nvPr/>
        </p:nvSpPr>
        <p:spPr>
          <a:xfrm>
            <a:off x="7362739" y="1072744"/>
            <a:ext cx="1709928" cy="4114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997" tIns="63997" rIns="63997" bIns="63997" numCol="1" spcCol="1270" anchor="ctr" anchorCtr="0">
            <a:noAutofit/>
          </a:bodyPr>
          <a:lstStyle/>
          <a:p>
            <a:pPr marL="0" lvl="0" indent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50" b="1" kern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ar Home Systems (SHS)</a:t>
            </a:r>
            <a:endParaRPr lang="en-US" sz="105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3F34FDC1-179A-4E68-A421-ECBB1C3564D4}"/>
              </a:ext>
            </a:extLst>
          </p:cNvPr>
          <p:cNvSpPr/>
          <p:nvPr/>
        </p:nvSpPr>
        <p:spPr>
          <a:xfrm>
            <a:off x="3865044" y="1072744"/>
            <a:ext cx="1712682" cy="4114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997" tIns="63997" rIns="63997" bIns="63997" numCol="1" spcCol="1270" anchor="ctr" anchorCtr="0">
            <a:noAutofit/>
          </a:bodyPr>
          <a:lstStyle/>
          <a:p>
            <a:pPr marL="0" lvl="0" indent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50" b="1" kern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 Grids</a:t>
            </a:r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2CDCDC7B-1879-4E76-9645-ED49083883CF}"/>
              </a:ext>
            </a:extLst>
          </p:cNvPr>
          <p:cNvSpPr/>
          <p:nvPr/>
        </p:nvSpPr>
        <p:spPr>
          <a:xfrm>
            <a:off x="5606010" y="1072743"/>
            <a:ext cx="1712682" cy="41148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4815" tIns="64815" rIns="64815" bIns="64815" numCol="1" spcCol="1270" anchor="ctr" anchorCtr="0">
            <a:noAutofit/>
          </a:bodyPr>
          <a:lstStyle/>
          <a:p>
            <a:pPr marL="0" lvl="0" indent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50" b="1" kern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lar Energy Systems</a:t>
            </a:r>
            <a:endParaRPr lang="en-US" sz="1050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Rectangle 3">
            <a:extLst>
              <a:ext uri="{FF2B5EF4-FFF2-40B4-BE49-F238E27FC236}">
                <a16:creationId xmlns:a16="http://schemas.microsoft.com/office/drawing/2014/main" id="{162EA5BD-A7B5-49C0-A596-96BEDC8371D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0946" y="1447202"/>
            <a:ext cx="1696591" cy="683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imarily driven by &lt;10MW plants, with some in 10-25MW range; primarily gas</a:t>
            </a:r>
          </a:p>
        </p:txBody>
      </p:sp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3C05E147-AE21-4889-BD53-93EEF830ECBB}"/>
              </a:ext>
            </a:extLst>
          </p:cNvPr>
          <p:cNvSpPr/>
          <p:nvPr/>
        </p:nvSpPr>
        <p:spPr>
          <a:xfrm>
            <a:off x="2118661" y="1072744"/>
            <a:ext cx="1712682" cy="411480"/>
          </a:xfrm>
          <a:prstGeom prst="rect">
            <a:avLst/>
          </a:prstGeom>
          <a:solidFill>
            <a:srgbClr val="55A6B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3997" tIns="63997" rIns="63997" bIns="63997" numCol="1" spcCol="1270" anchor="ctr" anchorCtr="0">
            <a:noAutofit/>
          </a:bodyPr>
          <a:lstStyle/>
          <a:p>
            <a:pPr marL="0" lvl="0" indent="0" algn="ctr" defTabSz="5334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05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mercial &amp; Industrial (C&amp;I)</a:t>
            </a:r>
            <a:endParaRPr lang="en-US" sz="1050" b="1" kern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Rectangle 3">
            <a:extLst>
              <a:ext uri="{FF2B5EF4-FFF2-40B4-BE49-F238E27FC236}">
                <a16:creationId xmlns:a16="http://schemas.microsoft.com/office/drawing/2014/main" id="{55B54EA5-A4D3-407B-84E7-2891DD21A85C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-440420" y="1881869"/>
            <a:ext cx="1362708" cy="3609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8D3C3C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</a:t>
            </a:r>
            <a:r>
              <a:rPr kumimoji="0" lang="en-US" sz="1050" b="1" i="0" u="none" strike="noStrike" kern="1200" cap="none" spc="0" normalizeH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atures </a:t>
            </a:r>
          </a:p>
        </p:txBody>
      </p:sp>
      <p:sp>
        <p:nvSpPr>
          <p:cNvPr id="52" name="Rectangle 3">
            <a:extLst>
              <a:ext uri="{FF2B5EF4-FFF2-40B4-BE49-F238E27FC236}">
                <a16:creationId xmlns:a16="http://schemas.microsoft.com/office/drawing/2014/main" id="{5C44EAAE-DD10-4ACA-8992-CFE5D62BD22B}"/>
              </a:ext>
            </a:extLst>
          </p:cNvPr>
          <p:cNvSpPr>
            <a:spLocks noChangeArrowheads="1"/>
          </p:cNvSpPr>
          <p:nvPr/>
        </p:nvSpPr>
        <p:spPr bwMode="gray">
          <a:xfrm rot="16200000">
            <a:off x="-361933" y="4337142"/>
            <a:ext cx="1107585" cy="26279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algn="ctr">
              <a:lnSpc>
                <a:spcPct val="80000"/>
              </a:lnSpc>
              <a:buClr>
                <a:srgbClr val="8D3C3C"/>
              </a:buClr>
              <a:defRPr/>
            </a:pPr>
            <a:r>
              <a:rPr lang="en-US" sz="105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ey Players </a:t>
            </a:r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id="{DDD79423-B3F6-4799-8106-FEEB01344B4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87937" y="1447202"/>
            <a:ext cx="1696591" cy="683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nges from 50KW bank branches to 5MW embedded power for factories; primarily gas &amp; solar</a:t>
            </a:r>
          </a:p>
        </p:txBody>
      </p:sp>
      <p:sp>
        <p:nvSpPr>
          <p:cNvPr id="54" name="Rectangle 3">
            <a:extLst>
              <a:ext uri="{FF2B5EF4-FFF2-40B4-BE49-F238E27FC236}">
                <a16:creationId xmlns:a16="http://schemas.microsoft.com/office/drawing/2014/main" id="{49EFD650-C8FE-4843-AF8E-B6A4128F448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18559" y="1443745"/>
            <a:ext cx="1696591" cy="683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lectricity demand in localized area w/ generation ranging from 50kW-1MW; primarily solar, some gas &amp; hydro; off grid &amp; ‘</a:t>
            </a:r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dergrid</a:t>
            </a: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’ </a:t>
            </a:r>
          </a:p>
        </p:txBody>
      </p:sp>
      <p:sp>
        <p:nvSpPr>
          <p:cNvPr id="55" name="Rectangle 3">
            <a:extLst>
              <a:ext uri="{FF2B5EF4-FFF2-40B4-BE49-F238E27FC236}">
                <a16:creationId xmlns:a16="http://schemas.microsoft.com/office/drawing/2014/main" id="{02D3185D-53B1-485B-B8FC-6FEF32BCD34D}"/>
              </a:ext>
            </a:extLst>
          </p:cNvPr>
          <p:cNvSpPr>
            <a:spLocks noChangeArrowheads="1"/>
          </p:cNvSpPr>
          <p:nvPr/>
        </p:nvSpPr>
        <p:spPr bwMode="gray">
          <a:xfrm>
            <a:off x="5585953" y="1443745"/>
            <a:ext cx="1696591" cy="683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 alone solar systems with capacity &gt;1KW for large households &amp; SMEs</a:t>
            </a:r>
          </a:p>
        </p:txBody>
      </p:sp>
      <p:sp>
        <p:nvSpPr>
          <p:cNvPr id="56" name="Rectangle 3">
            <a:extLst>
              <a:ext uri="{FF2B5EF4-FFF2-40B4-BE49-F238E27FC236}">
                <a16:creationId xmlns:a16="http://schemas.microsoft.com/office/drawing/2014/main" id="{FB2D5579-1DF0-4C1E-964C-AA088D8CE17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335957" y="1422412"/>
            <a:ext cx="1696591" cy="6838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tIns="91440" bIns="91440"/>
          <a:lstStyle/>
          <a:p>
            <a:pPr lvl="0" algn="ctr"/>
            <a:r>
              <a:rPr lang="en-US" sz="11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 led by Pay As You Go solar home system segment ranging from 10W to 150W system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B5877DF-2414-43AE-AA5C-03D6481BD1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670" y="2683833"/>
            <a:ext cx="1699568" cy="11811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D70C9C17-72C2-4E24-A1BD-24BB20C2A3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1238" y="2683833"/>
            <a:ext cx="1785789" cy="118109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B9D59FC-1D0E-4326-8726-0822B508ADF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2267" y="2683832"/>
            <a:ext cx="1691351" cy="118190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EF84CE-30A0-4BBA-ABFC-16E2ED1CF6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1144" y="2686950"/>
            <a:ext cx="1699848" cy="11779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8DFC8B0-CCB6-4CD9-BEB2-2262F1C875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3195" b="26796"/>
          <a:stretch/>
        </p:blipFill>
        <p:spPr>
          <a:xfrm>
            <a:off x="2188543" y="4792287"/>
            <a:ext cx="550650" cy="27537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42DBA1B-CB9F-4104-BA4C-6DF75548E3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88543" y="4505727"/>
            <a:ext cx="866048" cy="1652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26D99B2-ED5D-466A-B28E-B9048EA975D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8007" t="17984" r="8769" b="15235"/>
          <a:stretch/>
        </p:blipFill>
        <p:spPr>
          <a:xfrm>
            <a:off x="2143424" y="4002177"/>
            <a:ext cx="1162380" cy="46636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595324C-E9A3-485E-BE5B-BB71E13215C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241" t="27283" r="15275" b="19517"/>
          <a:stretch/>
        </p:blipFill>
        <p:spPr>
          <a:xfrm>
            <a:off x="3259087" y="4002177"/>
            <a:ext cx="523450" cy="40662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DA9468E-7EFD-4547-8697-E055B72D45D0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7845" b="12107"/>
          <a:stretch/>
        </p:blipFill>
        <p:spPr>
          <a:xfrm>
            <a:off x="3118109" y="4505727"/>
            <a:ext cx="665780" cy="46636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41BB782-540D-42AB-9197-BCD410FD709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940530" y="4414831"/>
            <a:ext cx="576192" cy="33111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A829C1F-E37C-43A0-9997-72E51EAA9353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19646" y="4414831"/>
            <a:ext cx="870148" cy="262424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ACF68D77-7790-47DE-9C45-F5AB2CF822C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91922" y="4038152"/>
            <a:ext cx="424800" cy="26873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5C36263-7A51-4C31-A793-B4F0A2E8AB8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919646" y="4754454"/>
            <a:ext cx="861816" cy="25723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CE19E17-0D8F-4799-81C9-92BD1757E01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663992" y="4328356"/>
            <a:ext cx="910770" cy="410254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A302226A-B61D-4F19-B8B9-0BC61A6831E8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989711" y="3964388"/>
            <a:ext cx="415644" cy="41564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270E70E-9C86-44BC-A2B9-52D5B81D2DC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464059" y="4476390"/>
            <a:ext cx="615720" cy="28132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DBC88D5-1D5F-480B-853D-82C12ED906E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471114" y="4816827"/>
            <a:ext cx="1561434" cy="22629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B3087C3-F4B9-4468-AEBA-039CFF7771EE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5663992" y="4736712"/>
            <a:ext cx="1164846" cy="394542"/>
          </a:xfrm>
          <a:prstGeom prst="rect">
            <a:avLst/>
          </a:prstGeom>
        </p:spPr>
      </p:pic>
      <p:pic>
        <p:nvPicPr>
          <p:cNvPr id="1026" name="Picture 2" descr="Image result for amesl">
            <a:extLst>
              <a:ext uri="{FF2B5EF4-FFF2-40B4-BE49-F238E27FC236}">
                <a16:creationId xmlns:a16="http://schemas.microsoft.com/office/drawing/2014/main" id="{4E241D86-8F22-4476-AEEB-0CD139B8E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126" y="3892497"/>
            <a:ext cx="1598242" cy="554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E94D5A68-400D-4B83-A0CF-190E1E3F30C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511300" y="3958214"/>
            <a:ext cx="415644" cy="41038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23ED696-F623-43A8-9127-2F1066E5E50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561965" y="2683831"/>
            <a:ext cx="1800773" cy="117798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3B16888C-BB98-405E-9B64-8A84BD9C8583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992" y="3992108"/>
            <a:ext cx="1413912" cy="408442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825E0B49-5623-4F54-83C7-E3C7841D0D01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464059" y="3964303"/>
            <a:ext cx="424566" cy="433230"/>
          </a:xfrm>
          <a:prstGeom prst="rect">
            <a:avLst/>
          </a:prstGeom>
        </p:spPr>
      </p:pic>
      <p:cxnSp>
        <p:nvCxnSpPr>
          <p:cNvPr id="19" name="Straight Connector 18"/>
          <p:cNvCxnSpPr/>
          <p:nvPr/>
        </p:nvCxnSpPr>
        <p:spPr>
          <a:xfrm>
            <a:off x="360946" y="2690407"/>
            <a:ext cx="8759501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/>
        </p:nvCxnSpPr>
        <p:spPr>
          <a:xfrm>
            <a:off x="360946" y="3877859"/>
            <a:ext cx="8759501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>
            <a:extLst>
              <a:ext uri="{FF2B5EF4-FFF2-40B4-BE49-F238E27FC236}">
                <a16:creationId xmlns:a16="http://schemas.microsoft.com/office/drawing/2014/main" id="{90915202-FE5D-454A-BE7A-6D595B930A38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298570" y="4476390"/>
            <a:ext cx="509072" cy="232476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ED87FB75-8F23-40C6-95F2-61F86110FF5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932" y="4463857"/>
            <a:ext cx="1554912" cy="32843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00B32F33-759F-4271-8A20-7A41B700D3C8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5497" y="3993544"/>
            <a:ext cx="980192" cy="297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51438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68" grpId="0" animBg="1"/>
      <p:bldP spid="42" grpId="0" animBg="1"/>
      <p:bldP spid="48" grpId="0" animBg="1"/>
      <p:bldP spid="44" grpId="0" animBg="1"/>
      <p:bldP spid="46" grpId="0" animBg="1"/>
      <p:bldP spid="39" grpId="0"/>
      <p:bldP spid="49" grpId="0" animBg="1"/>
      <p:bldP spid="50" grpId="0"/>
      <p:bldP spid="52" grpId="0"/>
      <p:bldP spid="53" grpId="0"/>
      <p:bldP spid="54" grpId="0"/>
      <p:bldP spid="55" grpId="0"/>
      <p:bldP spid="5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BtgpyjYUSrvVSir46m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1dABPel0KQ_xUknpl43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kPoGX.30Ofo2XbRd5sJ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2pCsiPgkOD5dQYx9BR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t6815HJEuql9Hcvk0q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hrIMKSX02JK6QxH5JF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kmBYaKAU2pwRZWGXIw2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gr6DSSlky7CRF2diXd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hzpLXDEmJsVR20zX9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YOGZKV6k..q._te_bMq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QCbcYg.Ua3WDxMNpKAt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EIkDsOIkqKMTab5cBoB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iCXdxAUaxJLa_PJKmY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CjJ_erkuwijBlFWM0S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qzjZW6XEKQQGKV2bEuv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Np6FSvyUyUoNyjULOc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NdXNljmUeNVYobHR5ic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KNZ6LxFUO8uFLiCXnV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wjJHMXBUyy_V4KwLqtW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PVvHxPtUafbuN7k4dob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wcwQ0VtUKLsbt.DFII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tnwcdokmRLocRVVhC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VGcJQW9sEqc0JQ3dCm0f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lyxHIKwUykvuHJeoIuQ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oSY0oxkEywEYNG7VNmF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QzWq3yz0CYcznptCGb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15hBzXoUKT7kagbPHtV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w6lh9KqkOgb7u0YYbI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jnHxAml0O3K_5_bprw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QtiYlbyBkSonwoyYRGt4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cFafHZDUyFh9njBz1a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UeiICgv0KcabkkW1uNJ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NUptSIx0CIME.B_y5kU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3qyHKSJo0KDUpQpMKNe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r5WPQrMEeH2LLKoMKRz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.raHwLgUe9s_HSpg9lh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wqb5VdpEWMLCBhdVkC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6_vHACkuUeNNy2JzC10h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ij_7G_jEqnHBeNItsNW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.uWHCxLEKi9Cs9iG9Fy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9Z_NA89UuKn5hIKY5UG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Hmm16D2UCG4n3sPQ9NI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NYT8ZhnkaEZFrJHTS79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H5YA3G0kKpogg0CLPE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lmNdsrOkyNQzcZeoOeE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.R8ItM3HEeNbkCE7arTL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bIpKN4gEy2ZBEqnDyW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03IQKNssUO5yRzbuMXDg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tPJBA.FUCyNgOdRw7A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TEWdRRyUickWMySWHM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FqNJuKBUGVGVc3jnua8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r.LehefE.MKcMt4lskg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2KEsOvZU2vG8QLuFo.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7_RmI_p0uhL0D8GZcGn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7_RmI_p0uhL0D8GZcG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QfEM4lkEmSAwuk6fSY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7_RmI_p0uhL0D8GZcGn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7_RmI_p0uhL0D8GZcGn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2KEsOvZU2vG8QLuFo.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2KEsOvZU2vG8QLuFo.z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2KEsOvZU2vG8QLuFo.z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7_RmI_p0uhL0D8GZcG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9IUoOv0WznlKV2L5fT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A9IUoOv0WznlKV2L5f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mwYEcgWkea9FGlVWDy5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rQN0.gIU2ENYvfjbFT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9hYtZjsikCoIn4LiJUhjw"/>
</p:tagLst>
</file>

<file path=ppt/theme/theme1.xml><?xml version="1.0" encoding="utf-8"?>
<a:theme xmlns:a="http://schemas.openxmlformats.org/drawingml/2006/main" name="Shell layouts with footer">
  <a:themeElements>
    <a:clrScheme name="All On Colours">
      <a:dk1>
        <a:srgbClr val="000000"/>
      </a:dk1>
      <a:lt1>
        <a:srgbClr val="FFFFFF"/>
      </a:lt1>
      <a:dk2>
        <a:srgbClr val="380F0F"/>
      </a:dk2>
      <a:lt2>
        <a:srgbClr val="FFFFFF"/>
      </a:lt2>
      <a:accent1>
        <a:srgbClr val="8D3C3C"/>
      </a:accent1>
      <a:accent2>
        <a:srgbClr val="55A6B0"/>
      </a:accent2>
      <a:accent3>
        <a:srgbClr val="E37012"/>
      </a:accent3>
      <a:accent4>
        <a:srgbClr val="A64554"/>
      </a:accent4>
      <a:accent5>
        <a:srgbClr val="248059"/>
      </a:accent5>
      <a:accent6>
        <a:srgbClr val="FFB01F"/>
      </a:accent6>
      <a:hlink>
        <a:srgbClr val="380F0F"/>
      </a:hlink>
      <a:folHlink>
        <a:srgbClr val="380F0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23805A"/>
        </a:solidFill>
        <a:ln w="19050">
          <a:solidFill>
            <a:schemeClr val="bg1"/>
          </a:solidFill>
        </a:ln>
        <a:effectLst/>
      </a:spPr>
      <a:bodyPr wrap="square" lIns="162000" tIns="139700" rIns="44450" bIns="139700" rtlCol="0" anchor="ctr" anchorCtr="0">
        <a:noAutofit/>
      </a:bodyPr>
      <a:lstStyle>
        <a:defPPr>
          <a:lnSpc>
            <a:spcPct val="95000"/>
          </a:lnSpc>
          <a:spcBef>
            <a:spcPct val="0"/>
          </a:spcBef>
          <a:spcAft>
            <a:spcPct val="0"/>
          </a:spcAft>
          <a:defRPr sz="1400" b="1" dirty="0" smtClean="0">
            <a:solidFill>
              <a:schemeClr val="bg1"/>
            </a:solidFill>
            <a:latin typeface="Arial" pitchFamily="34" charset="0"/>
            <a:cs typeface="Arial" pitchFamily="34" charset="0"/>
            <a:sym typeface="+mn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77800" indent="-177800">
          <a:lnSpc>
            <a:spcPct val="113000"/>
          </a:lnSpc>
          <a:spcAft>
            <a:spcPts val="60"/>
          </a:spcAft>
          <a:buFont typeface="Wingdings"/>
          <a:buChar char="n"/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tandard colors 1">
    <a:dk1>
      <a:srgbClr val="000000"/>
    </a:dk1>
    <a:lt1>
      <a:srgbClr val="FFFFFF"/>
    </a:lt1>
    <a:dk2>
      <a:srgbClr val="177B57"/>
    </a:dk2>
    <a:lt2>
      <a:srgbClr val="808080"/>
    </a:lt2>
    <a:accent1>
      <a:srgbClr val="E2E2E2"/>
    </a:accent1>
    <a:accent2>
      <a:srgbClr val="BCDEC2"/>
    </a:accent2>
    <a:accent3>
      <a:srgbClr val="B2B2B2"/>
    </a:accent3>
    <a:accent4>
      <a:srgbClr val="4D4D4D"/>
    </a:accent4>
    <a:accent5>
      <a:srgbClr val="D2E0E6"/>
    </a:accent5>
    <a:accent6>
      <a:srgbClr val="79A2B3"/>
    </a:accent6>
    <a:hlink>
      <a:srgbClr val="5BAD82"/>
    </a:hlink>
    <a:folHlink>
      <a:srgbClr val="8EC6A1"/>
    </a:folHlink>
  </a:clrScheme>
  <a:fontScheme name="Standard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Standard colors 1">
    <a:dk1>
      <a:srgbClr val="000000"/>
    </a:dk1>
    <a:lt1>
      <a:srgbClr val="FFFFFF"/>
    </a:lt1>
    <a:dk2>
      <a:srgbClr val="177B57"/>
    </a:dk2>
    <a:lt2>
      <a:srgbClr val="808080"/>
    </a:lt2>
    <a:accent1>
      <a:srgbClr val="E2E2E2"/>
    </a:accent1>
    <a:accent2>
      <a:srgbClr val="BCDEC2"/>
    </a:accent2>
    <a:accent3>
      <a:srgbClr val="B2B2B2"/>
    </a:accent3>
    <a:accent4>
      <a:srgbClr val="4D4D4D"/>
    </a:accent4>
    <a:accent5>
      <a:srgbClr val="D2E0E6"/>
    </a:accent5>
    <a:accent6>
      <a:srgbClr val="79A2B3"/>
    </a:accent6>
    <a:hlink>
      <a:srgbClr val="5BAD82"/>
    </a:hlink>
    <a:folHlink>
      <a:srgbClr val="8EC6A1"/>
    </a:folHlink>
  </a:clrScheme>
  <a:fontScheme name="Standard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Standard colors 1">
    <a:dk1>
      <a:srgbClr val="000000"/>
    </a:dk1>
    <a:lt1>
      <a:srgbClr val="FFFFFF"/>
    </a:lt1>
    <a:dk2>
      <a:srgbClr val="177B57"/>
    </a:dk2>
    <a:lt2>
      <a:srgbClr val="808080"/>
    </a:lt2>
    <a:accent1>
      <a:srgbClr val="E2E2E2"/>
    </a:accent1>
    <a:accent2>
      <a:srgbClr val="BCDEC2"/>
    </a:accent2>
    <a:accent3>
      <a:srgbClr val="B2B2B2"/>
    </a:accent3>
    <a:accent4>
      <a:srgbClr val="4D4D4D"/>
    </a:accent4>
    <a:accent5>
      <a:srgbClr val="D2E0E6"/>
    </a:accent5>
    <a:accent6>
      <a:srgbClr val="79A2B3"/>
    </a:accent6>
    <a:hlink>
      <a:srgbClr val="5BAD82"/>
    </a:hlink>
    <a:folHlink>
      <a:srgbClr val="8EC6A1"/>
    </a:folHlink>
  </a:clrScheme>
  <a:fontScheme name="Standard Font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082</TotalTime>
  <Words>1035</Words>
  <Application>Microsoft Office PowerPoint</Application>
  <PresentationFormat>On-screen Show (16:9)</PresentationFormat>
  <Paragraphs>223</Paragraphs>
  <Slides>14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Futura Medium</vt:lpstr>
      <vt:lpstr>Symbol</vt:lpstr>
      <vt:lpstr>Verdana</vt:lpstr>
      <vt:lpstr>Wingdings</vt:lpstr>
      <vt:lpstr>Shell layouts with footer</vt:lpstr>
      <vt:lpstr>Launching the Nigerian Off Grid Energy Revolution:  Challenges &amp; Opportunities  TechPoint Inspired , June 2019 </vt:lpstr>
      <vt:lpstr>PowerPoint Presentation</vt:lpstr>
      <vt:lpstr>  Nigeria lags behind peers in terms of installed generation capacity... </vt:lpstr>
      <vt:lpstr>…on top of this, ~80% of Nigeria’s installed generation capacity is lost by the time it reaches the consumer</vt:lpstr>
      <vt:lpstr>The result is that approximately 70% of Nigerian households are either totally off-grid or have a ‘bad grid’ connection with less than 4 hours of electricity per day</vt:lpstr>
      <vt:lpstr>The energy gap in Nigeria is the foundation for so many of the country’s economic and social development problems </vt:lpstr>
      <vt:lpstr>PowerPoint Presentation</vt:lpstr>
      <vt:lpstr>The significant energy access gap in Nigeria means the opportunities to address the gap are also considerable  </vt:lpstr>
      <vt:lpstr>Rising private sector interest, increased government support and improved regulation make off grid energy businesses attractive across multiple existing and emerging segments</vt:lpstr>
      <vt:lpstr>There is an active and fast growing off grid energy ecosystem to tap in to</vt:lpstr>
      <vt:lpstr>PowerPoint Presentation</vt:lpstr>
      <vt:lpstr>All On (funded by Shell) has a dynamic approach that combines investment and market development activities with strategic partners to unlock access to energy in Nigeria</vt:lpstr>
      <vt:lpstr>PowerPoint Presentation</vt:lpstr>
      <vt:lpstr>The tech sector can contribute to the off grid energy revolution in a variety of ways</vt:lpstr>
    </vt:vector>
  </TitlesOfParts>
  <Company>She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hell</dc:creator>
  <cp:lastModifiedBy>Boer, Wiebe K SPDC-UPO/G/NA</cp:lastModifiedBy>
  <cp:revision>828</cp:revision>
  <cp:lastPrinted>2019-05-21T08:18:26Z</cp:lastPrinted>
  <dcterms:created xsi:type="dcterms:W3CDTF">2009-11-25T14:32:06Z</dcterms:created>
  <dcterms:modified xsi:type="dcterms:W3CDTF">2019-06-03T17:21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4</vt:i4>
  </property>
</Properties>
</file>